
<file path=[Content_Types].xml><?xml version="1.0" encoding="utf-8"?>
<Types xmlns="http://schemas.openxmlformats.org/package/2006/content-types">
  <Default Extension="bin" ContentType="application/vnd.openxmlformats-officedocument.oleObject"/>
  <Default Extension="bmp" ContentType="image/bmp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1"/>
    <p:sldMasterId id="2147484806" r:id="rId2"/>
    <p:sldMasterId id="2147484868" r:id="rId3"/>
    <p:sldMasterId id="2147484916" r:id="rId4"/>
    <p:sldMasterId id="2147485021" r:id="rId5"/>
    <p:sldMasterId id="2147485040" r:id="rId6"/>
    <p:sldMasterId id="2147485056" r:id="rId7"/>
    <p:sldMasterId id="2147485122" r:id="rId8"/>
  </p:sldMasterIdLst>
  <p:notesMasterIdLst>
    <p:notesMasterId r:id="rId21"/>
  </p:notesMasterIdLst>
  <p:sldIdLst>
    <p:sldId id="1025" r:id="rId9"/>
    <p:sldId id="1947" r:id="rId10"/>
    <p:sldId id="1769" r:id="rId11"/>
    <p:sldId id="1953" r:id="rId12"/>
    <p:sldId id="1950" r:id="rId13"/>
    <p:sldId id="1952" r:id="rId14"/>
    <p:sldId id="1957" r:id="rId15"/>
    <p:sldId id="1954" r:id="rId16"/>
    <p:sldId id="1958" r:id="rId17"/>
    <p:sldId id="1955" r:id="rId18"/>
    <p:sldId id="1959" r:id="rId19"/>
    <p:sldId id="1956" r:id="rId20"/>
  </p:sldIdLst>
  <p:sldSz cx="9144000" cy="6858000" type="screen4x3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yner, Josh" initials="WJ" lastIdx="5" clrIdx="0"/>
  <p:cmAuthor id="1" name="Keith" initials="K" lastIdx="2" clrIdx="1"/>
  <p:cmAuthor id="2" name="Linda Perlstein" initials="" lastIdx="10" clrIdx="2"/>
  <p:cmAuthor id="3" name="Bridget DeSimone" initials="BD" lastIdx="6" clrIdx="3"/>
  <p:cmAuthor id="4" name="Arsenault, Leigh" initials="AL" lastIdx="2" clrIdx="4"/>
  <p:cmAuthor id="5" name="Kelley Karandjeff" initials="KK" lastIdx="1" clrIdx="5">
    <p:extLst>
      <p:ext uri="{19B8F6BF-5375-455C-9EA6-DF929625EA0E}">
        <p15:presenceInfo xmlns:p15="http://schemas.microsoft.com/office/powerpoint/2012/main" userId="995163bab1a338f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7D88"/>
    <a:srgbClr val="0989B1"/>
    <a:srgbClr val="4AB5C4"/>
    <a:srgbClr val="0354A0"/>
    <a:srgbClr val="91E5B3"/>
    <a:srgbClr val="9CFAC5"/>
    <a:srgbClr val="72CDF4"/>
    <a:srgbClr val="99D625"/>
    <a:srgbClr val="FFE200"/>
    <a:srgbClr val="FFB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4B43FD8-9329-4E30-869F-9E9B209C53D6}" v="4" dt="2020-06-23T01:27:41.7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79" autoAdjust="0"/>
    <p:restoredTop sz="93907" autoAdjust="0"/>
  </p:normalViewPr>
  <p:slideViewPr>
    <p:cSldViewPr snapToGrid="0">
      <p:cViewPr varScale="1">
        <p:scale>
          <a:sx n="63" d="100"/>
          <a:sy n="63" d="100"/>
        </p:scale>
        <p:origin x="1364" y="6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20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7808"/>
    </p:cViewPr>
  </p:sorterViewPr>
  <p:notesViewPr>
    <p:cSldViewPr>
      <p:cViewPr varScale="1">
        <p:scale>
          <a:sx n="84" d="100"/>
          <a:sy n="84" d="100"/>
        </p:scale>
        <p:origin x="-1884" y="-78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ert Johnstone" userId="cb449c38944dd802" providerId="LiveId" clId="{89F0BE03-917D-4E42-90F2-28C4C68AEA99}"/>
    <pc:docChg chg="undo custSel addSld modSld sldOrd">
      <pc:chgData name="Robert Johnstone" userId="cb449c38944dd802" providerId="LiveId" clId="{89F0BE03-917D-4E42-90F2-28C4C68AEA99}" dt="2020-04-02T18:21:44.352" v="430" actId="1076"/>
      <pc:docMkLst>
        <pc:docMk/>
      </pc:docMkLst>
      <pc:sldChg chg="addSp delSp modSp">
        <pc:chgData name="Robert Johnstone" userId="cb449c38944dd802" providerId="LiveId" clId="{89F0BE03-917D-4E42-90F2-28C4C68AEA99}" dt="2020-04-02T18:21:44.352" v="430" actId="1076"/>
        <pc:sldMkLst>
          <pc:docMk/>
          <pc:sldMk cId="2539340765" sldId="1025"/>
        </pc:sldMkLst>
        <pc:spChg chg="mod">
          <ac:chgData name="Robert Johnstone" userId="cb449c38944dd802" providerId="LiveId" clId="{89F0BE03-917D-4E42-90F2-28C4C68AEA99}" dt="2020-03-31T16:28:03.632" v="113" actId="20577"/>
          <ac:spMkLst>
            <pc:docMk/>
            <pc:sldMk cId="2539340765" sldId="1025"/>
            <ac:spMk id="3" creationId="{00000000-0000-0000-0000-000000000000}"/>
          </ac:spMkLst>
        </pc:spChg>
        <pc:graphicFrameChg chg="add del mod">
          <ac:chgData name="Robert Johnstone" userId="cb449c38944dd802" providerId="LiveId" clId="{89F0BE03-917D-4E42-90F2-28C4C68AEA99}" dt="2020-04-02T18:19:33.175" v="155"/>
          <ac:graphicFrameMkLst>
            <pc:docMk/>
            <pc:sldMk cId="2539340765" sldId="1025"/>
            <ac:graphicFrameMk id="2" creationId="{711829D4-229B-4FCE-8E43-516B6563B27D}"/>
          </ac:graphicFrameMkLst>
        </pc:graphicFrameChg>
        <pc:graphicFrameChg chg="add del mod">
          <ac:chgData name="Robert Johnstone" userId="cb449c38944dd802" providerId="LiveId" clId="{89F0BE03-917D-4E42-90F2-28C4C68AEA99}" dt="2020-04-02T18:19:33.175" v="155"/>
          <ac:graphicFrameMkLst>
            <pc:docMk/>
            <pc:sldMk cId="2539340765" sldId="1025"/>
            <ac:graphicFrameMk id="5" creationId="{978106B3-C48C-415B-B7DF-DB4AD82E6D9F}"/>
          </ac:graphicFrameMkLst>
        </pc:graphicFrameChg>
        <pc:graphicFrameChg chg="del">
          <ac:chgData name="Robert Johnstone" userId="cb449c38944dd802" providerId="LiveId" clId="{89F0BE03-917D-4E42-90F2-28C4C68AEA99}" dt="2020-04-02T18:19:33.175" v="155"/>
          <ac:graphicFrameMkLst>
            <pc:docMk/>
            <pc:sldMk cId="2539340765" sldId="1025"/>
            <ac:graphicFrameMk id="6" creationId="{80A9D499-4F99-41FA-9CB0-B3CE922FF4C3}"/>
          </ac:graphicFrameMkLst>
        </pc:graphicFrameChg>
        <pc:graphicFrameChg chg="del">
          <ac:chgData name="Robert Johnstone" userId="cb449c38944dd802" providerId="LiveId" clId="{89F0BE03-917D-4E42-90F2-28C4C68AEA99}" dt="2020-04-02T18:19:33.175" v="155"/>
          <ac:graphicFrameMkLst>
            <pc:docMk/>
            <pc:sldMk cId="2539340765" sldId="1025"/>
            <ac:graphicFrameMk id="7" creationId="{B1954811-52B0-4ADA-9CA7-80D2ADB9C1D7}"/>
          </ac:graphicFrameMkLst>
        </pc:graphicFrameChg>
        <pc:graphicFrameChg chg="add del mod">
          <ac:chgData name="Robert Johnstone" userId="cb449c38944dd802" providerId="LiveId" clId="{89F0BE03-917D-4E42-90F2-28C4C68AEA99}" dt="2020-04-02T18:19:33.175" v="155"/>
          <ac:graphicFrameMkLst>
            <pc:docMk/>
            <pc:sldMk cId="2539340765" sldId="1025"/>
            <ac:graphicFrameMk id="8" creationId="{2D4B9D67-BA1B-41C1-8CC5-F6BB8A51EA0D}"/>
          </ac:graphicFrameMkLst>
        </pc:graphicFrameChg>
        <pc:graphicFrameChg chg="add del mod">
          <ac:chgData name="Robert Johnstone" userId="cb449c38944dd802" providerId="LiveId" clId="{89F0BE03-917D-4E42-90F2-28C4C68AEA99}" dt="2020-04-02T18:19:33.175" v="155"/>
          <ac:graphicFrameMkLst>
            <pc:docMk/>
            <pc:sldMk cId="2539340765" sldId="1025"/>
            <ac:graphicFrameMk id="9" creationId="{1F6B1217-142F-4EF0-9D74-A818BA0A06A1}"/>
          </ac:graphicFrameMkLst>
        </pc:graphicFrameChg>
        <pc:graphicFrameChg chg="add del mod">
          <ac:chgData name="Robert Johnstone" userId="cb449c38944dd802" providerId="LiveId" clId="{89F0BE03-917D-4E42-90F2-28C4C68AEA99}" dt="2020-04-02T18:19:33.175" v="155"/>
          <ac:graphicFrameMkLst>
            <pc:docMk/>
            <pc:sldMk cId="2539340765" sldId="1025"/>
            <ac:graphicFrameMk id="10" creationId="{8CB6E6B3-DD65-4D09-9B7C-0EB62AA02D71}"/>
          </ac:graphicFrameMkLst>
        </pc:graphicFrameChg>
        <pc:graphicFrameChg chg="add del mod">
          <ac:chgData name="Robert Johnstone" userId="cb449c38944dd802" providerId="LiveId" clId="{89F0BE03-917D-4E42-90F2-28C4C68AEA99}" dt="2020-04-02T18:19:33.175" v="155"/>
          <ac:graphicFrameMkLst>
            <pc:docMk/>
            <pc:sldMk cId="2539340765" sldId="1025"/>
            <ac:graphicFrameMk id="11" creationId="{5998F27B-F730-42D5-A21C-534837298043}"/>
          </ac:graphicFrameMkLst>
        </pc:graphicFrameChg>
        <pc:graphicFrameChg chg="add del mod">
          <ac:chgData name="Robert Johnstone" userId="cb449c38944dd802" providerId="LiveId" clId="{89F0BE03-917D-4E42-90F2-28C4C68AEA99}" dt="2020-04-02T18:19:33.175" v="155"/>
          <ac:graphicFrameMkLst>
            <pc:docMk/>
            <pc:sldMk cId="2539340765" sldId="1025"/>
            <ac:graphicFrameMk id="12" creationId="{D3FD68A3-1A8F-4917-A907-834486EAF438}"/>
          </ac:graphicFrameMkLst>
        </pc:graphicFrameChg>
        <pc:graphicFrameChg chg="add del mod">
          <ac:chgData name="Robert Johnstone" userId="cb449c38944dd802" providerId="LiveId" clId="{89F0BE03-917D-4E42-90F2-28C4C68AEA99}" dt="2020-04-02T18:19:33.175" v="155"/>
          <ac:graphicFrameMkLst>
            <pc:docMk/>
            <pc:sldMk cId="2539340765" sldId="1025"/>
            <ac:graphicFrameMk id="13" creationId="{90FF2128-D14D-40BF-B787-54230DBF7742}"/>
          </ac:graphicFrameMkLst>
        </pc:graphicFrameChg>
        <pc:picChg chg="add del mod">
          <ac:chgData name="Robert Johnstone" userId="cb449c38944dd802" providerId="LiveId" clId="{89F0BE03-917D-4E42-90F2-28C4C68AEA99}" dt="2020-04-02T18:20:35.867" v="384" actId="478"/>
          <ac:picMkLst>
            <pc:docMk/>
            <pc:sldMk cId="2539340765" sldId="1025"/>
            <ac:picMk id="14" creationId="{6BF0495F-407D-4454-BBC4-D5C8045D9D8D}"/>
          </ac:picMkLst>
        </pc:picChg>
        <pc:picChg chg="add mod">
          <ac:chgData name="Robert Johnstone" userId="cb449c38944dd802" providerId="LiveId" clId="{89F0BE03-917D-4E42-90F2-28C4C68AEA99}" dt="2020-04-02T18:21:44.352" v="430" actId="1076"/>
          <ac:picMkLst>
            <pc:docMk/>
            <pc:sldMk cId="2539340765" sldId="1025"/>
            <ac:picMk id="16" creationId="{3197A526-1CBD-4B41-B3B4-686116C89D99}"/>
          </ac:picMkLst>
        </pc:picChg>
      </pc:sldChg>
      <pc:sldChg chg="modSp ord">
        <pc:chgData name="Robert Johnstone" userId="cb449c38944dd802" providerId="LiveId" clId="{89F0BE03-917D-4E42-90F2-28C4C68AEA99}" dt="2020-03-31T16:30:01.431" v="153" actId="20577"/>
        <pc:sldMkLst>
          <pc:docMk/>
          <pc:sldMk cId="1078822957" sldId="1769"/>
        </pc:sldMkLst>
        <pc:spChg chg="mod">
          <ac:chgData name="Robert Johnstone" userId="cb449c38944dd802" providerId="LiveId" clId="{89F0BE03-917D-4E42-90F2-28C4C68AEA99}" dt="2020-03-31T16:29:50.366" v="152" actId="20577"/>
          <ac:spMkLst>
            <pc:docMk/>
            <pc:sldMk cId="1078822957" sldId="1769"/>
            <ac:spMk id="2" creationId="{00000000-0000-0000-0000-000000000000}"/>
          </ac:spMkLst>
        </pc:spChg>
        <pc:spChg chg="mod">
          <ac:chgData name="Robert Johnstone" userId="cb449c38944dd802" providerId="LiveId" clId="{89F0BE03-917D-4E42-90F2-28C4C68AEA99}" dt="2020-03-31T16:30:01.431" v="153" actId="20577"/>
          <ac:spMkLst>
            <pc:docMk/>
            <pc:sldMk cId="1078822957" sldId="1769"/>
            <ac:spMk id="3" creationId="{00000000-0000-0000-0000-000000000000}"/>
          </ac:spMkLst>
        </pc:spChg>
      </pc:sldChg>
      <pc:sldChg chg="modSp">
        <pc:chgData name="Robert Johnstone" userId="cb449c38944dd802" providerId="LiveId" clId="{89F0BE03-917D-4E42-90F2-28C4C68AEA99}" dt="2020-03-29T15:37:29.767" v="9" actId="113"/>
        <pc:sldMkLst>
          <pc:docMk/>
          <pc:sldMk cId="128915136" sldId="1947"/>
        </pc:sldMkLst>
        <pc:spChg chg="mod">
          <ac:chgData name="Robert Johnstone" userId="cb449c38944dd802" providerId="LiveId" clId="{89F0BE03-917D-4E42-90F2-28C4C68AEA99}" dt="2020-03-29T15:37:29.767" v="9" actId="113"/>
          <ac:spMkLst>
            <pc:docMk/>
            <pc:sldMk cId="128915136" sldId="1947"/>
            <ac:spMk id="3" creationId="{6370F228-B789-B249-BADA-2E1CF879D65B}"/>
          </ac:spMkLst>
        </pc:spChg>
      </pc:sldChg>
      <pc:sldChg chg="modSp">
        <pc:chgData name="Robert Johnstone" userId="cb449c38944dd802" providerId="LiveId" clId="{89F0BE03-917D-4E42-90F2-28C4C68AEA99}" dt="2020-03-29T15:38:39.980" v="43" actId="113"/>
        <pc:sldMkLst>
          <pc:docMk/>
          <pc:sldMk cId="2081700430" sldId="1950"/>
        </pc:sldMkLst>
        <pc:spChg chg="mod">
          <ac:chgData name="Robert Johnstone" userId="cb449c38944dd802" providerId="LiveId" clId="{89F0BE03-917D-4E42-90F2-28C4C68AEA99}" dt="2020-03-29T15:26:52.392" v="1" actId="207"/>
          <ac:spMkLst>
            <pc:docMk/>
            <pc:sldMk cId="2081700430" sldId="1950"/>
            <ac:spMk id="2" creationId="{E3446B13-2E95-464E-BF8F-7A7ACDF2D27C}"/>
          </ac:spMkLst>
        </pc:spChg>
        <pc:spChg chg="mod">
          <ac:chgData name="Robert Johnstone" userId="cb449c38944dd802" providerId="LiveId" clId="{89F0BE03-917D-4E42-90F2-28C4C68AEA99}" dt="2020-03-29T15:38:39.980" v="43" actId="113"/>
          <ac:spMkLst>
            <pc:docMk/>
            <pc:sldMk cId="2081700430" sldId="1950"/>
            <ac:spMk id="4" creationId="{847D5D02-5875-B44C-9B4C-348BDA45A985}"/>
          </ac:spMkLst>
        </pc:spChg>
      </pc:sldChg>
      <pc:sldChg chg="modSp">
        <pc:chgData name="Robert Johnstone" userId="cb449c38944dd802" providerId="LiveId" clId="{89F0BE03-917D-4E42-90F2-28C4C68AEA99}" dt="2020-03-29T15:39:09.344" v="55" actId="113"/>
        <pc:sldMkLst>
          <pc:docMk/>
          <pc:sldMk cId="3999258482" sldId="1952"/>
        </pc:sldMkLst>
        <pc:spChg chg="mod">
          <ac:chgData name="Robert Johnstone" userId="cb449c38944dd802" providerId="LiveId" clId="{89F0BE03-917D-4E42-90F2-28C4C68AEA99}" dt="2020-03-29T15:38:54.266" v="48" actId="20577"/>
          <ac:spMkLst>
            <pc:docMk/>
            <pc:sldMk cId="3999258482" sldId="1952"/>
            <ac:spMk id="2" creationId="{CF47C920-260A-064B-B9CA-04A1A3A986D1}"/>
          </ac:spMkLst>
        </pc:spChg>
        <pc:spChg chg="mod">
          <ac:chgData name="Robert Johnstone" userId="cb449c38944dd802" providerId="LiveId" clId="{89F0BE03-917D-4E42-90F2-28C4C68AEA99}" dt="2020-03-29T15:39:09.344" v="55" actId="113"/>
          <ac:spMkLst>
            <pc:docMk/>
            <pc:sldMk cId="3999258482" sldId="1952"/>
            <ac:spMk id="3" creationId="{84B0A658-148F-1A40-9016-484DCCC34CEC}"/>
          </ac:spMkLst>
        </pc:spChg>
      </pc:sldChg>
      <pc:sldChg chg="modSp">
        <pc:chgData name="Robert Johnstone" userId="cb449c38944dd802" providerId="LiveId" clId="{89F0BE03-917D-4E42-90F2-28C4C68AEA99}" dt="2020-03-29T15:38:34.093" v="42" actId="113"/>
        <pc:sldMkLst>
          <pc:docMk/>
          <pc:sldMk cId="4045508488" sldId="1953"/>
        </pc:sldMkLst>
        <pc:spChg chg="mod">
          <ac:chgData name="Robert Johnstone" userId="cb449c38944dd802" providerId="LiveId" clId="{89F0BE03-917D-4E42-90F2-28C4C68AEA99}" dt="2020-03-29T15:26:48.490" v="0" actId="207"/>
          <ac:spMkLst>
            <pc:docMk/>
            <pc:sldMk cId="4045508488" sldId="1953"/>
            <ac:spMk id="2" creationId="{D0015223-983C-4E48-898F-55C67D4F7C28}"/>
          </ac:spMkLst>
        </pc:spChg>
        <pc:spChg chg="mod">
          <ac:chgData name="Robert Johnstone" userId="cb449c38944dd802" providerId="LiveId" clId="{89F0BE03-917D-4E42-90F2-28C4C68AEA99}" dt="2020-03-29T15:38:34.093" v="42" actId="113"/>
          <ac:spMkLst>
            <pc:docMk/>
            <pc:sldMk cId="4045508488" sldId="1953"/>
            <ac:spMk id="3" creationId="{62C4DC10-D92C-BD4B-BFC3-40BCD562294E}"/>
          </ac:spMkLst>
        </pc:spChg>
      </pc:sldChg>
      <pc:sldChg chg="modSp">
        <pc:chgData name="Robert Johnstone" userId="cb449c38944dd802" providerId="LiveId" clId="{89F0BE03-917D-4E42-90F2-28C4C68AEA99}" dt="2020-03-29T15:41:36.767" v="92" actId="113"/>
        <pc:sldMkLst>
          <pc:docMk/>
          <pc:sldMk cId="703238593" sldId="1954"/>
        </pc:sldMkLst>
        <pc:spChg chg="mod">
          <ac:chgData name="Robert Johnstone" userId="cb449c38944dd802" providerId="LiveId" clId="{89F0BE03-917D-4E42-90F2-28C4C68AEA99}" dt="2020-03-29T15:39:28.123" v="62" actId="20577"/>
          <ac:spMkLst>
            <pc:docMk/>
            <pc:sldMk cId="703238593" sldId="1954"/>
            <ac:spMk id="2" creationId="{A212896D-3920-EA43-A026-51741A7F2227}"/>
          </ac:spMkLst>
        </pc:spChg>
        <pc:spChg chg="mod">
          <ac:chgData name="Robert Johnstone" userId="cb449c38944dd802" providerId="LiveId" clId="{89F0BE03-917D-4E42-90F2-28C4C68AEA99}" dt="2020-03-29T15:41:36.767" v="92" actId="113"/>
          <ac:spMkLst>
            <pc:docMk/>
            <pc:sldMk cId="703238593" sldId="1954"/>
            <ac:spMk id="5" creationId="{7CDEF541-B067-E349-824C-CA149825556E}"/>
          </ac:spMkLst>
        </pc:spChg>
      </pc:sldChg>
      <pc:sldChg chg="modSp">
        <pc:chgData name="Robert Johnstone" userId="cb449c38944dd802" providerId="LiveId" clId="{89F0BE03-917D-4E42-90F2-28C4C68AEA99}" dt="2020-03-29T15:41:25.811" v="90" actId="113"/>
        <pc:sldMkLst>
          <pc:docMk/>
          <pc:sldMk cId="3391632219" sldId="1955"/>
        </pc:sldMkLst>
        <pc:spChg chg="mod">
          <ac:chgData name="Robert Johnstone" userId="cb449c38944dd802" providerId="LiveId" clId="{89F0BE03-917D-4E42-90F2-28C4C68AEA99}" dt="2020-03-29T15:40:52.074" v="83" actId="20577"/>
          <ac:spMkLst>
            <pc:docMk/>
            <pc:sldMk cId="3391632219" sldId="1955"/>
            <ac:spMk id="2" creationId="{489FC065-4E0A-CC4D-B2A3-53DA6780C94F}"/>
          </ac:spMkLst>
        </pc:spChg>
        <pc:spChg chg="mod">
          <ac:chgData name="Robert Johnstone" userId="cb449c38944dd802" providerId="LiveId" clId="{89F0BE03-917D-4E42-90F2-28C4C68AEA99}" dt="2020-03-29T15:41:25.811" v="90" actId="113"/>
          <ac:spMkLst>
            <pc:docMk/>
            <pc:sldMk cId="3391632219" sldId="1955"/>
            <ac:spMk id="4" creationId="{12A78684-835C-5C44-946B-7F76B373D4FB}"/>
          </ac:spMkLst>
        </pc:spChg>
      </pc:sldChg>
      <pc:sldChg chg="modSp">
        <pc:chgData name="Robert Johnstone" userId="cb449c38944dd802" providerId="LiveId" clId="{89F0BE03-917D-4E42-90F2-28C4C68AEA99}" dt="2020-03-29T15:42:15.143" v="102" actId="113"/>
        <pc:sldMkLst>
          <pc:docMk/>
          <pc:sldMk cId="159093646" sldId="1956"/>
        </pc:sldMkLst>
        <pc:spChg chg="mod">
          <ac:chgData name="Robert Johnstone" userId="cb449c38944dd802" providerId="LiveId" clId="{89F0BE03-917D-4E42-90F2-28C4C68AEA99}" dt="2020-03-29T15:27:10.593" v="5" actId="207"/>
          <ac:spMkLst>
            <pc:docMk/>
            <pc:sldMk cId="159093646" sldId="1956"/>
            <ac:spMk id="2" creationId="{F04D14F9-5D02-2B49-AD78-450DC353074D}"/>
          </ac:spMkLst>
        </pc:spChg>
        <pc:spChg chg="mod">
          <ac:chgData name="Robert Johnstone" userId="cb449c38944dd802" providerId="LiveId" clId="{89F0BE03-917D-4E42-90F2-28C4C68AEA99}" dt="2020-03-29T15:42:15.143" v="102" actId="113"/>
          <ac:spMkLst>
            <pc:docMk/>
            <pc:sldMk cId="159093646" sldId="1956"/>
            <ac:spMk id="3" creationId="{AB752E70-FE32-5843-BE9F-04EE06E35745}"/>
          </ac:spMkLst>
        </pc:spChg>
      </pc:sldChg>
      <pc:sldChg chg="modSp add">
        <pc:chgData name="Robert Johnstone" userId="cb449c38944dd802" providerId="LiveId" clId="{89F0BE03-917D-4E42-90F2-28C4C68AEA99}" dt="2020-03-29T15:39:21.877" v="58" actId="113"/>
        <pc:sldMkLst>
          <pc:docMk/>
          <pc:sldMk cId="3555239131" sldId="1957"/>
        </pc:sldMkLst>
        <pc:spChg chg="mod">
          <ac:chgData name="Robert Johnstone" userId="cb449c38944dd802" providerId="LiveId" clId="{89F0BE03-917D-4E42-90F2-28C4C68AEA99}" dt="2020-03-29T15:38:57.838" v="52" actId="20577"/>
          <ac:spMkLst>
            <pc:docMk/>
            <pc:sldMk cId="3555239131" sldId="1957"/>
            <ac:spMk id="2" creationId="{CF47C920-260A-064B-B9CA-04A1A3A986D1}"/>
          </ac:spMkLst>
        </pc:spChg>
        <pc:spChg chg="mod">
          <ac:chgData name="Robert Johnstone" userId="cb449c38944dd802" providerId="LiveId" clId="{89F0BE03-917D-4E42-90F2-28C4C68AEA99}" dt="2020-03-29T15:39:21.877" v="58" actId="113"/>
          <ac:spMkLst>
            <pc:docMk/>
            <pc:sldMk cId="3555239131" sldId="1957"/>
            <ac:spMk id="3" creationId="{84B0A658-148F-1A40-9016-484DCCC34CEC}"/>
          </ac:spMkLst>
        </pc:spChg>
      </pc:sldChg>
      <pc:sldChg chg="modSp add">
        <pc:chgData name="Robert Johnstone" userId="cb449c38944dd802" providerId="LiveId" clId="{89F0BE03-917D-4E42-90F2-28C4C68AEA99}" dt="2020-03-29T15:41:32.235" v="91" actId="113"/>
        <pc:sldMkLst>
          <pc:docMk/>
          <pc:sldMk cId="3978373105" sldId="1958"/>
        </pc:sldMkLst>
        <pc:spChg chg="mod">
          <ac:chgData name="Robert Johnstone" userId="cb449c38944dd802" providerId="LiveId" clId="{89F0BE03-917D-4E42-90F2-28C4C68AEA99}" dt="2020-03-29T15:39:35.933" v="65" actId="20577"/>
          <ac:spMkLst>
            <pc:docMk/>
            <pc:sldMk cId="3978373105" sldId="1958"/>
            <ac:spMk id="2" creationId="{A212896D-3920-EA43-A026-51741A7F2227}"/>
          </ac:spMkLst>
        </pc:spChg>
        <pc:spChg chg="mod">
          <ac:chgData name="Robert Johnstone" userId="cb449c38944dd802" providerId="LiveId" clId="{89F0BE03-917D-4E42-90F2-28C4C68AEA99}" dt="2020-03-29T15:41:32.235" v="91" actId="113"/>
          <ac:spMkLst>
            <pc:docMk/>
            <pc:sldMk cId="3978373105" sldId="1958"/>
            <ac:spMk id="5" creationId="{7CDEF541-B067-E349-824C-CA149825556E}"/>
          </ac:spMkLst>
        </pc:spChg>
      </pc:sldChg>
      <pc:sldChg chg="modSp add">
        <pc:chgData name="Robert Johnstone" userId="cb449c38944dd802" providerId="LiveId" clId="{89F0BE03-917D-4E42-90F2-28C4C68AEA99}" dt="2020-03-29T15:42:08.273" v="101" actId="113"/>
        <pc:sldMkLst>
          <pc:docMk/>
          <pc:sldMk cId="141422409" sldId="1959"/>
        </pc:sldMkLst>
        <pc:spChg chg="mod">
          <ac:chgData name="Robert Johnstone" userId="cb449c38944dd802" providerId="LiveId" clId="{89F0BE03-917D-4E42-90F2-28C4C68AEA99}" dt="2020-03-29T15:41:55.710" v="96" actId="20577"/>
          <ac:spMkLst>
            <pc:docMk/>
            <pc:sldMk cId="141422409" sldId="1959"/>
            <ac:spMk id="2" creationId="{489FC065-4E0A-CC4D-B2A3-53DA6780C94F}"/>
          </ac:spMkLst>
        </pc:spChg>
        <pc:spChg chg="mod">
          <ac:chgData name="Robert Johnstone" userId="cb449c38944dd802" providerId="LiveId" clId="{89F0BE03-917D-4E42-90F2-28C4C68AEA99}" dt="2020-03-29T15:42:08.273" v="101" actId="113"/>
          <ac:spMkLst>
            <pc:docMk/>
            <pc:sldMk cId="141422409" sldId="1959"/>
            <ac:spMk id="4" creationId="{12A78684-835C-5C44-946B-7F76B373D4FB}"/>
          </ac:spMkLst>
        </pc:spChg>
      </pc:sldChg>
    </pc:docChg>
  </pc:docChgLst>
  <pc:docChgLst>
    <pc:chgData name="Robert Johnstone" userId="cb449c38944dd802" providerId="LiveId" clId="{67C021D8-8D15-44B4-8666-7552BB655416}"/>
    <pc:docChg chg="custSel">
      <pc:chgData name="Robert Johnstone" userId="cb449c38944dd802" providerId="LiveId" clId="{67C021D8-8D15-44B4-8666-7552BB655416}" dt="2020-04-24T19:57:26.207" v="0" actId="1592"/>
      <pc:docMkLst>
        <pc:docMk/>
      </pc:docMkLst>
      <pc:sldChg chg="delCm">
        <pc:chgData name="Robert Johnstone" userId="cb449c38944dd802" providerId="LiveId" clId="{67C021D8-8D15-44B4-8666-7552BB655416}" dt="2020-04-24T19:57:26.207" v="0" actId="1592"/>
        <pc:sldMkLst>
          <pc:docMk/>
          <pc:sldMk cId="128915136" sldId="1947"/>
        </pc:sldMkLst>
      </pc:sldChg>
    </pc:docChg>
  </pc:docChgLst>
  <pc:docChgLst>
    <pc:chgData name="Robert Johnstone" userId="cb449c38944dd802" providerId="LiveId" clId="{D4B43FD8-9329-4E30-869F-9E9B209C53D6}"/>
    <pc:docChg chg="undo redo custSel modSld">
      <pc:chgData name="Robert Johnstone" userId="cb449c38944dd802" providerId="LiveId" clId="{D4B43FD8-9329-4E30-869F-9E9B209C53D6}" dt="2020-06-23T01:27:39.844" v="99" actId="20577"/>
      <pc:docMkLst>
        <pc:docMk/>
      </pc:docMkLst>
      <pc:sldChg chg="modSp mod">
        <pc:chgData name="Robert Johnstone" userId="cb449c38944dd802" providerId="LiveId" clId="{D4B43FD8-9329-4E30-869F-9E9B209C53D6}" dt="2020-06-23T01:27:39.844" v="99" actId="20577"/>
        <pc:sldMkLst>
          <pc:docMk/>
          <pc:sldMk cId="2539340765" sldId="1025"/>
        </pc:sldMkLst>
        <pc:spChg chg="mod">
          <ac:chgData name="Robert Johnstone" userId="cb449c38944dd802" providerId="LiveId" clId="{D4B43FD8-9329-4E30-869F-9E9B209C53D6}" dt="2020-06-23T01:27:39.844" v="99" actId="20577"/>
          <ac:spMkLst>
            <pc:docMk/>
            <pc:sldMk cId="2539340765" sldId="1025"/>
            <ac:spMk id="3" creationId="{00000000-0000-0000-0000-000000000000}"/>
          </ac:spMkLst>
        </pc:spChg>
      </pc:sldChg>
      <pc:sldChg chg="modSp mod">
        <pc:chgData name="Robert Johnstone" userId="cb449c38944dd802" providerId="LiveId" clId="{D4B43FD8-9329-4E30-869F-9E9B209C53D6}" dt="2020-06-22T13:01:16.495" v="94" actId="20577"/>
        <pc:sldMkLst>
          <pc:docMk/>
          <pc:sldMk cId="1078822957" sldId="1769"/>
        </pc:sldMkLst>
        <pc:spChg chg="mod">
          <ac:chgData name="Robert Johnstone" userId="cb449c38944dd802" providerId="LiveId" clId="{D4B43FD8-9329-4E30-869F-9E9B209C53D6}" dt="2020-06-22T13:01:16.495" v="94" actId="20577"/>
          <ac:spMkLst>
            <pc:docMk/>
            <pc:sldMk cId="1078822957" sldId="1769"/>
            <ac:spMk id="3" creationId="{00000000-0000-0000-0000-000000000000}"/>
          </ac:spMkLst>
        </pc:spChg>
      </pc:sldChg>
      <pc:sldChg chg="modSp mod">
        <pc:chgData name="Robert Johnstone" userId="cb449c38944dd802" providerId="LiveId" clId="{D4B43FD8-9329-4E30-869F-9E9B209C53D6}" dt="2020-06-22T13:01:11.511" v="92" actId="20577"/>
        <pc:sldMkLst>
          <pc:docMk/>
          <pc:sldMk cId="128915136" sldId="1947"/>
        </pc:sldMkLst>
        <pc:spChg chg="mod">
          <ac:chgData name="Robert Johnstone" userId="cb449c38944dd802" providerId="LiveId" clId="{D4B43FD8-9329-4E30-869F-9E9B209C53D6}" dt="2020-06-22T13:01:11.511" v="92" actId="20577"/>
          <ac:spMkLst>
            <pc:docMk/>
            <pc:sldMk cId="128915136" sldId="1947"/>
            <ac:spMk id="3" creationId="{6370F228-B789-B249-BADA-2E1CF879D65B}"/>
          </ac:spMkLst>
        </pc:spChg>
      </pc:sldChg>
      <pc:sldChg chg="modSp mod">
        <pc:chgData name="Robert Johnstone" userId="cb449c38944dd802" providerId="LiveId" clId="{D4B43FD8-9329-4E30-869F-9E9B209C53D6}" dt="2020-06-22T13:01:30.695" v="98" actId="20577"/>
        <pc:sldMkLst>
          <pc:docMk/>
          <pc:sldMk cId="159093646" sldId="1956"/>
        </pc:sldMkLst>
        <pc:spChg chg="mod">
          <ac:chgData name="Robert Johnstone" userId="cb449c38944dd802" providerId="LiveId" clId="{D4B43FD8-9329-4E30-869F-9E9B209C53D6}" dt="2020-06-22T13:01:30.695" v="98" actId="20577"/>
          <ac:spMkLst>
            <pc:docMk/>
            <pc:sldMk cId="159093646" sldId="1956"/>
            <ac:spMk id="3" creationId="{AB752E70-FE32-5843-BE9F-04EE06E35745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r">
              <a:defRPr sz="1200"/>
            </a:lvl1pPr>
          </a:lstStyle>
          <a:p>
            <a:fld id="{3D53FCB3-3116-4BA0-A0FB-DF705EF6CDC8}" type="datetimeFigureOut">
              <a:rPr lang="en-US" smtClean="0"/>
              <a:t>6/2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87" tIns="46244" rIns="92487" bIns="4624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87" tIns="46244" rIns="92487" bIns="4624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r">
              <a:defRPr sz="1200"/>
            </a:lvl1pPr>
          </a:lstStyle>
          <a:p>
            <a:fld id="{E9EC6E68-91FA-4CA7-8DD7-25476B1B0A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8325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C1BF69-0C71-4B88-AA8F-AF8EE4A4BD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326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683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61568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6884991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Ref idx="1001">
        <a:schemeClr val="bg1"/>
      </p:bgRef>
    </p:bg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63351" y="1604565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ank you!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(null)"/>
              <a:cs typeface="Helvetica"/>
              <a:sym typeface="Helvetica"/>
            </a:endParaRPr>
          </a:p>
        </p:txBody>
      </p:sp>
      <p:sp>
        <p:nvSpPr>
          <p:cNvPr id="8" name="Shape 655">
            <a:extLst>
              <a:ext uri="{FF2B5EF4-FFF2-40B4-BE49-F238E27FC236}">
                <a16:creationId xmlns:a16="http://schemas.microsoft.com/office/drawing/2014/main" id="{EF89A762-5238-7F40-81D4-E623241D55F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63350" y="24677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Presenter’s contact information goes he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09264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rt &amp; Title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953" y="755653"/>
            <a:ext cx="8326935" cy="341632"/>
          </a:xfrm>
        </p:spPr>
        <p:txBody>
          <a:bodyPr wrap="square" anchor="t" anchorCtr="0">
            <a:noAutofit/>
          </a:bodyPr>
          <a:lstStyle>
            <a:lvl1pPr algn="l">
              <a:defRPr sz="3200"/>
            </a:lvl1pPr>
          </a:lstStyle>
          <a:p>
            <a:r>
              <a:rPr lang="en-US" dirty="0"/>
              <a:t>Chart Title</a:t>
            </a:r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0"/>
          </p:nvPr>
        </p:nvSpPr>
        <p:spPr>
          <a:xfrm>
            <a:off x="424955" y="1475113"/>
            <a:ext cx="8327161" cy="4991003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1" hasCustomPrompt="1"/>
          </p:nvPr>
        </p:nvSpPr>
        <p:spPr>
          <a:xfrm>
            <a:off x="424953" y="6493238"/>
            <a:ext cx="8326935" cy="364763"/>
          </a:xfrm>
        </p:spPr>
        <p:txBody>
          <a:bodyPr>
            <a:noAutofit/>
          </a:bodyPr>
          <a:lstStyle>
            <a:lvl1pPr marL="0" indent="0">
              <a:buNone/>
              <a:defRPr sz="1000"/>
            </a:lvl1pPr>
            <a:lvl2pPr marL="457154" indent="0">
              <a:buNone/>
              <a:defRPr sz="1200"/>
            </a:lvl2pPr>
            <a:lvl3pPr marL="914306" indent="0">
              <a:buNone/>
              <a:defRPr sz="1200"/>
            </a:lvl3pPr>
            <a:lvl4pPr marL="1371460" indent="0">
              <a:buNone/>
              <a:defRPr sz="1200"/>
            </a:lvl4pPr>
            <a:lvl5pPr marL="1828613" indent="0">
              <a:buNone/>
              <a:defRPr sz="1200"/>
            </a:lvl5pPr>
          </a:lstStyle>
          <a:p>
            <a:pPr lvl="0"/>
            <a:r>
              <a:rPr lang="en-US" dirty="0"/>
              <a:t>Source: 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301144" y="377826"/>
            <a:ext cx="7842856" cy="0"/>
          </a:xfrm>
          <a:prstGeom prst="line">
            <a:avLst/>
          </a:prstGeom>
          <a:ln w="381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18" y="261705"/>
            <a:ext cx="711200" cy="232242"/>
          </a:xfrm>
          <a:prstGeom prst="rect">
            <a:avLst/>
          </a:prstGeom>
        </p:spPr>
      </p:pic>
      <p:cxnSp>
        <p:nvCxnSpPr>
          <p:cNvPr id="29" name="Straight Connector 28"/>
          <p:cNvCxnSpPr/>
          <p:nvPr userDrawn="1"/>
        </p:nvCxnSpPr>
        <p:spPr>
          <a:xfrm>
            <a:off x="0" y="377826"/>
            <a:ext cx="371754" cy="0"/>
          </a:xfrm>
          <a:prstGeom prst="line">
            <a:avLst/>
          </a:prstGeom>
          <a:ln w="381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93739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1557962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185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5363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849523"/>
      </p:ext>
    </p:extLst>
  </p:cSld>
  <p:clrMapOvr>
    <a:masterClrMapping/>
  </p:clrMapOvr>
  <p:transition>
    <p:dissolv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919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15570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305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09956" algn="l"/>
              </a:tabLst>
              <a:defRPr sz="1969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2475" algn="l"/>
              </a:tabLst>
              <a:defRPr sz="984" b="1">
                <a:solidFill>
                  <a:srgbClr val="FFFFFF"/>
                </a:solidFill>
              </a:defRPr>
            </a:lvl2pPr>
            <a:lvl3pPr marL="909956" indent="-909956">
              <a:spcAft>
                <a:spcPts val="0"/>
              </a:spcAft>
              <a:buFontTx/>
              <a:buNone/>
              <a:tabLst/>
              <a:defRPr sz="984" b="0">
                <a:solidFill>
                  <a:srgbClr val="FFFFFF"/>
                </a:solidFill>
              </a:defRPr>
            </a:lvl3pPr>
            <a:lvl4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4pPr>
            <a:lvl5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0"/>
            <a:ext cx="8229600" cy="2506133"/>
          </a:xfrm>
        </p:spPr>
        <p:txBody>
          <a:bodyPr anchor="t"/>
          <a:lstStyle>
            <a:lvl1pPr>
              <a:defRPr sz="49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528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3" tIns="45497" rIns="90993" bIns="45497" numCol="1" anchor="t" anchorCtr="0" compatLnSpc="1">
            <a:prstTxWarp prst="textNoShape">
              <a:avLst/>
            </a:prstTxWarp>
          </a:bodyPr>
          <a:lstStyle/>
          <a:p>
            <a:pPr algn="r" defTabSz="639818" eaLnBrk="0" fontAlgn="base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r>
              <a:rPr lang="en-US" sz="1266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June 8, 201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158" y="261980"/>
            <a:ext cx="3541483" cy="68879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457200" y="1117600"/>
            <a:ext cx="8229600" cy="17272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729120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305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09956" algn="l"/>
              </a:tabLst>
              <a:defRPr sz="1969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2475" algn="l"/>
              </a:tabLst>
              <a:defRPr sz="984" b="1">
                <a:solidFill>
                  <a:srgbClr val="FFFFFF"/>
                </a:solidFill>
              </a:defRPr>
            </a:lvl2pPr>
            <a:lvl3pPr marL="909956" indent="-909956">
              <a:spcAft>
                <a:spcPts val="0"/>
              </a:spcAft>
              <a:buFontTx/>
              <a:buNone/>
              <a:tabLst/>
              <a:defRPr sz="984" b="0">
                <a:solidFill>
                  <a:srgbClr val="FFFFFF"/>
                </a:solidFill>
              </a:defRPr>
            </a:lvl3pPr>
            <a:lvl4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4pPr>
            <a:lvl5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0"/>
            <a:ext cx="8229600" cy="2506133"/>
          </a:xfrm>
        </p:spPr>
        <p:txBody>
          <a:bodyPr anchor="t"/>
          <a:lstStyle>
            <a:lvl1pPr>
              <a:defRPr sz="49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528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3" tIns="45497" rIns="90993" bIns="45497" numCol="1" anchor="t" anchorCtr="0" compatLnSpc="1">
            <a:prstTxWarp prst="textNoShape">
              <a:avLst/>
            </a:prstTxWarp>
          </a:bodyPr>
          <a:lstStyle/>
          <a:p>
            <a:pPr algn="r" defTabSz="639818" eaLnBrk="0" fontAlgn="base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r>
              <a:rPr lang="en-US" sz="1266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457200" y="1117600"/>
            <a:ext cx="8229600" cy="17272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3522" y="91440"/>
            <a:ext cx="3145536" cy="1061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377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2258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072"/>
            <a:ext cx="2905761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algn="r"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501608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5439" y="750982"/>
            <a:ext cx="8417597" cy="3841433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4" y="4591145"/>
            <a:ext cx="5473170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4368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646888"/>
      </p:ext>
    </p:extLst>
  </p:cSld>
  <p:clrMapOvr>
    <a:masterClrMapping/>
  </p:clrMapOvr>
  <p:transition>
    <p:dissolv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2"/>
            <a:ext cx="7996435" cy="4259820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934660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5872480" y="290072"/>
            <a:ext cx="2905761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algn="r"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10692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13652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62000"/>
            <a:ext cx="822960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2002249"/>
            <a:ext cx="3979333" cy="4522471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buClr>
                <a:schemeClr val="bg2"/>
              </a:buClr>
              <a:defRPr/>
            </a:lvl1pPr>
            <a:lvl2pPr>
              <a:spcBef>
                <a:spcPts val="432"/>
              </a:spcBef>
              <a:buClr>
                <a:schemeClr val="bg2"/>
              </a:buClr>
              <a:defRPr/>
            </a:lvl2pPr>
            <a:lvl3pPr>
              <a:spcBef>
                <a:spcPts val="432"/>
              </a:spcBef>
              <a:buClr>
                <a:schemeClr val="bg2"/>
              </a:buClr>
              <a:defRPr/>
            </a:lvl3pPr>
            <a:lvl4pPr>
              <a:spcBef>
                <a:spcPts val="432"/>
              </a:spcBef>
              <a:buClr>
                <a:schemeClr val="bg2"/>
              </a:buClr>
              <a:defRPr/>
            </a:lvl4pPr>
            <a:lvl5pPr>
              <a:spcBef>
                <a:spcPts val="432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96" y="2002249"/>
            <a:ext cx="3665799" cy="4427189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buClr>
                <a:schemeClr val="bg2"/>
              </a:buClr>
              <a:defRPr/>
            </a:lvl1pPr>
            <a:lvl2pPr>
              <a:spcBef>
                <a:spcPts val="432"/>
              </a:spcBef>
              <a:buClr>
                <a:schemeClr val="bg2"/>
              </a:buClr>
              <a:defRPr/>
            </a:lvl2pPr>
            <a:lvl3pPr>
              <a:spcBef>
                <a:spcPts val="432"/>
              </a:spcBef>
              <a:buClr>
                <a:schemeClr val="bg2"/>
              </a:buClr>
              <a:defRPr/>
            </a:lvl3pPr>
            <a:lvl4pPr>
              <a:spcBef>
                <a:spcPts val="432"/>
              </a:spcBef>
              <a:buClr>
                <a:schemeClr val="bg2"/>
              </a:buClr>
              <a:defRPr/>
            </a:lvl4pPr>
            <a:lvl5pPr>
              <a:spcBef>
                <a:spcPts val="432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63407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334965" y="2379663"/>
            <a:ext cx="3979863" cy="3831591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993" tIns="45497" rIns="90993" bIns="45497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84703" y="2113915"/>
            <a:ext cx="3979862" cy="4097338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993" tIns="45497" rIns="90993" bIns="45497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32" y="2415328"/>
            <a:ext cx="3979333" cy="3794654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62000"/>
            <a:ext cx="823976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2415328"/>
            <a:ext cx="3979333" cy="3804814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34965" y="2113916"/>
            <a:ext cx="3979333" cy="306387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282814" indent="-110586" algn="l">
              <a:buFontTx/>
              <a:buNone/>
              <a:defRPr sz="11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85232" y="2113916"/>
            <a:ext cx="3979333" cy="306387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44398" indent="-233810" algn="l">
              <a:buFontTx/>
              <a:buNone/>
              <a:defRPr sz="11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40937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20" y="3108962"/>
            <a:ext cx="183828" cy="459804"/>
          </a:xfrm>
          <a:prstGeom prst="rect">
            <a:avLst/>
          </a:prstGeom>
          <a:noFill/>
        </p:spPr>
        <p:txBody>
          <a:bodyPr wrap="none" lIns="90993" tIns="45497" rIns="90993" bIns="45497" rtlCol="0">
            <a:spAutoFit/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804271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50888"/>
            <a:ext cx="8229601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1990081"/>
            <a:ext cx="3979333" cy="422729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28" y="1981519"/>
            <a:ext cx="3995737" cy="4235766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494149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28" y="2201427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34965" y="2201427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36269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48750" r="-48750"/>
          <a:stretch/>
        </p:blipFill>
        <p:spPr>
          <a:xfrm>
            <a:off x="5029201" y="939903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02920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2" y="1526439"/>
            <a:ext cx="4197849" cy="31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gh school to college transitions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velopmental education &amp; adult basic skills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udent services &amp; financial aid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nline learning &amp; instructional technology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udent persistence, completion, &amp; transfer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lege to career &amp; workforce education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roving institutional performance</a:t>
            </a:r>
            <a:endParaRPr sz="2000" dirty="0"/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bout CCRC</a:t>
            </a:r>
            <a:endParaRPr sz="1100"/>
          </a:p>
        </p:txBody>
      </p:sp>
    </p:spTree>
    <p:extLst>
      <p:ext uri="{BB962C8B-B14F-4D97-AF65-F5344CB8AC3E}">
        <p14:creationId xmlns:p14="http://schemas.microsoft.com/office/powerpoint/2010/main" val="24585967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758197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32919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/>
          </p:nvPr>
        </p:nvSpPr>
        <p:spPr>
          <a:xfrm>
            <a:off x="443319" y="5056292"/>
            <a:ext cx="8086800" cy="3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987073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406379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38098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3555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741223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- Photo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38098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3555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46576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5811137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4" name="Shape 654"/>
          <p:cNvSpPr txBox="1">
            <a:spLocks noGrp="1"/>
          </p:cNvSpPr>
          <p:nvPr>
            <p:ph type="body" idx="2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685626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7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0432597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462351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560085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 Slide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57200" y="2544417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ank you!</a:t>
            </a:r>
            <a:endParaRPr sz="1100"/>
          </a:p>
        </p:txBody>
      </p:sp>
    </p:spTree>
    <p:extLst>
      <p:ext uri="{BB962C8B-B14F-4D97-AF65-F5344CB8AC3E}">
        <p14:creationId xmlns:p14="http://schemas.microsoft.com/office/powerpoint/2010/main" val="21484220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defTabSz="610007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3175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961"/>
            <a:ext cx="2905761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algn="r" defTabSz="610007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8" y="280803"/>
            <a:ext cx="3251200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defTabSz="610007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defTabSz="610007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806715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3035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D6F66-3772-4378-A47F-9B36BBECAB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D89EFE-2D53-420E-97B2-34175C946F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6860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066806" y="762003"/>
            <a:ext cx="7848600" cy="5364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73842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130" y="6400846"/>
            <a:ext cx="1279525" cy="325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5" y="242891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 lIns="88967" tIns="44484" rIns="88967" bIns="44484" anchor="b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113" y="6493428"/>
            <a:ext cx="2133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2400" smtClean="0">
                <a:ea typeface="ヒラギノ角ゴ Pro W3"/>
              </a:rPr>
              <a:pPr defTabSz="625987" eaLnBrk="0" fontAlgn="base">
                <a:spcBef>
                  <a:spcPct val="0"/>
                </a:spcBef>
                <a:spcAft>
                  <a:spcPct val="0"/>
                </a:spcAft>
              </a:pPr>
              <a:t>Monday, June 22, 2020</a:t>
            </a:fld>
            <a:endParaRPr lang="en-US" altLang="en-US" sz="2400">
              <a:ea typeface="ヒラギノ角ゴ Pro W3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725" y="6493428"/>
            <a:ext cx="2895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>
                <a:ea typeface="ヒラギノ角ゴ Pro W3"/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3428"/>
            <a:ext cx="9144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2400" smtClean="0">
                <a:ea typeface="ヒラギノ角ゴ Pro W3"/>
              </a:rPr>
              <a:pPr defTabSz="625987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2400"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7364569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48750" r="-48750"/>
          <a:stretch/>
        </p:blipFill>
        <p:spPr>
          <a:xfrm>
            <a:off x="502920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02920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526439"/>
            <a:ext cx="4197849" cy="31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igh school to college transition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velopmental education &amp; adult basic skill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udent services &amp; financial aid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nline learning &amp; instructional technology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udent persistence, completion, &amp; transfer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llege to career &amp; workforce education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mproving institutional performance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bout CCRC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8245198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159256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/>
          </p:nvPr>
        </p:nvSpPr>
        <p:spPr>
          <a:xfrm>
            <a:off x="443319" y="5056292"/>
            <a:ext cx="8086800" cy="3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1796025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453054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- Photo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222521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8411305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4" name="Shape 654"/>
          <p:cNvSpPr txBox="1">
            <a:spLocks noGrp="1"/>
          </p:cNvSpPr>
          <p:nvPr>
            <p:ph type="body" idx="2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664819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0674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8719659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6905174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985286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 Slide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57200" y="2544417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ank you!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7684661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Shape 252"/>
          <p:cNvSpPr>
            <a:spLocks noGrp="1"/>
          </p:cNvSpPr>
          <p:nvPr>
            <p:ph type="sldNum" sz="quarter" idx="2"/>
          </p:nvPr>
        </p:nvSpPr>
        <p:spPr>
          <a:xfrm>
            <a:off x="6553211" y="6389055"/>
            <a:ext cx="2133600" cy="299727"/>
          </a:xfrm>
          <a:prstGeom prst="rect">
            <a:avLst/>
          </a:prstGeom>
        </p:spPr>
        <p:txBody>
          <a:bodyPr wrap="square" lIns="62689" tIns="62689" rIns="62689" bIns="62689" anchor="ctr">
            <a:spAutoFit/>
          </a:bodyPr>
          <a:lstStyle>
            <a:lvl1pPr algn="r" defTabSz="620435">
              <a:defRPr sz="1125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031850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4643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3176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962"/>
            <a:ext cx="2905761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marL="0" marR="0" lvl="0" indent="0" algn="r" defTabSz="609976" rtl="0" eaLnBrk="0" fontAlgn="base" latinLnBrk="0" hangingPunct="0">
              <a:lnSpc>
                <a:spcPct val="100000"/>
              </a:lnSpc>
              <a:spcBef>
                <a:spcPts val="23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charset="-128"/>
                <a:cs typeface="Helvetica"/>
                <a:sym typeface="Helvetica"/>
              </a:rPr>
              <a:t>PRESENTATION TITLE IN HEADER / JUNE 8, 2012</a:t>
            </a:r>
            <a:endParaRPr kumimoji="0" lang="en-US" sz="70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8" y="280804"/>
            <a:ext cx="3251200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ts val="23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charset="-128"/>
                <a:cs typeface="Helvetica"/>
                <a:sym typeface="Helvetica"/>
              </a:rPr>
              <a:t>COMMUNITY COLLEGE RESEARCH CENTER</a:t>
            </a:r>
            <a:endParaRPr kumimoji="0" lang="en-US" sz="70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58355788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02206"/>
            <a:fld id="{DE8D6F66-3772-4378-A47F-9B36BBECABB6}" type="datetimeFigureOut">
              <a:rPr lang="en-US" sz="773" smtClean="0">
                <a:solidFill>
                  <a:prstClr val="black">
                    <a:tint val="75000"/>
                  </a:prstClr>
                </a:solidFill>
              </a:rPr>
              <a:pPr defTabSz="302206"/>
              <a:t>6/22/2020</a:t>
            </a:fld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02206"/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02206"/>
            <a:fld id="{85D89EFE-2D53-420E-97B2-34175C946FAB}" type="slidenum">
              <a:rPr lang="en-US" sz="773" smtClean="0">
                <a:solidFill>
                  <a:prstClr val="black">
                    <a:tint val="75000"/>
                  </a:prstClr>
                </a:solidFill>
              </a:rPr>
              <a:pPr defTabSz="302206"/>
              <a:t>‹#›</a:t>
            </a:fld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82480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066806" y="762003"/>
            <a:ext cx="7848600" cy="5364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5016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73" y="762000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30025" y="3108967"/>
            <a:ext cx="174908" cy="455428"/>
          </a:xfrm>
          <a:prstGeom prst="rect">
            <a:avLst/>
          </a:prstGeom>
          <a:noFill/>
        </p:spPr>
        <p:txBody>
          <a:bodyPr wrap="none" lIns="86576" tIns="43330" rIns="86576" bIns="43330" rtlCol="0">
            <a:spAutoFit/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541604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277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131" y="6400847"/>
            <a:ext cx="1279525" cy="325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6" y="242891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 lIns="88967" tIns="44484" rIns="88967" bIns="44484" anchor="b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113" y="6493429"/>
            <a:ext cx="2133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2400" smtClean="0">
                <a:ea typeface="ヒラギノ角ゴ Pro W3"/>
              </a:rPr>
              <a:pPr defTabSz="625955" eaLnBrk="0" fontAlgn="base">
                <a:spcBef>
                  <a:spcPct val="0"/>
                </a:spcBef>
                <a:spcAft>
                  <a:spcPct val="0"/>
                </a:spcAft>
              </a:pPr>
              <a:t>Monday, June 22, 2020</a:t>
            </a:fld>
            <a:endParaRPr lang="en-US" altLang="en-US" sz="2400">
              <a:ea typeface="ヒラギノ角ゴ Pro W3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725" y="6493429"/>
            <a:ext cx="2895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>
                <a:ea typeface="ヒラギノ角ゴ Pro W3"/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3429"/>
            <a:ext cx="9144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2400" smtClean="0">
                <a:ea typeface="ヒラギノ角ゴ Pro W3"/>
              </a:rPr>
              <a:pPr defTabSz="625955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2400"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425483622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 hasCustomPrompt="1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Presentation Title</a:t>
            </a:r>
            <a:endParaRPr dirty="0"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Presenters’ Names</a:t>
            </a:r>
            <a:endParaRPr dirty="0"/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314265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52850" r="-52850"/>
          <a:stretch/>
        </p:blipFill>
        <p:spPr>
          <a:xfrm>
            <a:off x="579914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79914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390703"/>
            <a:ext cx="5280101" cy="5101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CCRC has been a leader in the field of community college research and reform for over 20 years. Our work provides a foundation for innovations in policy and practice that help give every community college student the best chance of success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College readiness and dual enrollment programs, and the transition from high school to college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Developmental education and adult basic skills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Non-academic support services, financial aid, and student engagement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Online education and instructional technology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Student persistence and completion, and transfer to four-year colleges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Guided pathways, institutional reform, and performance funding 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Workforce education and training and the economic returns to higher education</a:t>
            </a: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About CCRC</a:t>
            </a:r>
            <a:endParaRPr sz="1100" b="0" i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657019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4158762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 hasCustomPrompt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485748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bulleted list</a:t>
            </a:r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057168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Image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73717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0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C7B9A75B-E217-DF49-BF55-6FDAE6951F7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25278" y="1850407"/>
            <a:ext cx="8366001" cy="4422155"/>
          </a:xfrm>
        </p:spPr>
        <p:txBody>
          <a:bodyPr/>
          <a:lstStyle>
            <a:lvl1pPr marL="35715" indent="0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9356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62515500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lt1"/>
              </a:solidFill>
              <a:latin typeface="Arial (null)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 hasCustomPrompt="1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sp>
        <p:nvSpPr>
          <p:cNvPr id="648" name="Shape 648"/>
          <p:cNvSpPr txBox="1">
            <a:spLocks noGrp="1"/>
          </p:cNvSpPr>
          <p:nvPr>
            <p:ph type="body" idx="1" hasCustomPrompt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Subtitle</a:t>
            </a:r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1" name="Shape 641">
            <a:extLst>
              <a:ext uri="{FF2B5EF4-FFF2-40B4-BE49-F238E27FC236}">
                <a16:creationId xmlns:a16="http://schemas.microsoft.com/office/drawing/2014/main" id="{88766948-B31C-AC46-BD49-7A210FA45BC8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12" name="Shape 642">
            <a:extLst>
              <a:ext uri="{FF2B5EF4-FFF2-40B4-BE49-F238E27FC236}">
                <a16:creationId xmlns:a16="http://schemas.microsoft.com/office/drawing/2014/main" id="{97781516-9DDB-B346-9BA4-A48471DD4D3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hape 643">
            <a:extLst>
              <a:ext uri="{FF2B5EF4-FFF2-40B4-BE49-F238E27FC236}">
                <a16:creationId xmlns:a16="http://schemas.microsoft.com/office/drawing/2014/main" id="{C6F3FDED-D9DD-B348-9384-C4630989A30F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5390981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with Photo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6C539D-87AC-C042-872B-C6450B6A7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2507" y="0"/>
            <a:ext cx="9338221" cy="4939234"/>
          </a:xfrm>
        </p:spPr>
        <p:txBody>
          <a:bodyPr/>
          <a:lstStyle>
            <a:lvl1pPr marL="35715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4401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535738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7582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4" name="Shape 654"/>
          <p:cNvSpPr txBox="1">
            <a:spLocks noGrp="1"/>
          </p:cNvSpPr>
          <p:nvPr>
            <p:ph type="body" idx="2" hasCustomPrompt="1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##</a:t>
            </a:r>
            <a:endParaRPr dirty="0"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48214424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9621543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37897145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88965285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Ref idx="1001">
        <a:schemeClr val="bg1"/>
      </p:bgRef>
    </p:bg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63351" y="1604565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ank </a:t>
            </a:r>
            <a:r>
              <a:rPr lang="en-US" sz="4400" b="1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you</a:t>
            </a:r>
            <a:r>
              <a:rPr lang="en-US" sz="4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!</a:t>
            </a:r>
            <a:endParaRPr sz="1100" b="0" i="0" dirty="0">
              <a:latin typeface="Arial (null)"/>
            </a:endParaRPr>
          </a:p>
        </p:txBody>
      </p:sp>
      <p:sp>
        <p:nvSpPr>
          <p:cNvPr id="8" name="Shape 655">
            <a:extLst>
              <a:ext uri="{FF2B5EF4-FFF2-40B4-BE49-F238E27FC236}">
                <a16:creationId xmlns:a16="http://schemas.microsoft.com/office/drawing/2014/main" id="{EF89A762-5238-7F40-81D4-E623241D55F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63350" y="24677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Presenter’s contact information goes he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13988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35809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227008"/>
      </p:ext>
    </p:extLst>
  </p:cSld>
  <p:clrMapOvr>
    <a:masterClrMapping/>
  </p:clrMapOvr>
  <p:transition>
    <p:dissolv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4154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77658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460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33555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7552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4572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39329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9566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9045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46853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76741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1792999"/>
      </p:ext>
    </p:extLst>
  </p:cSld>
  <p:clrMapOvr>
    <a:masterClrMapping/>
  </p:clrMapOvr>
  <p:transition>
    <p:dissolv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 hasCustomPrompt="1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Presentation Title</a:t>
            </a:r>
            <a:endParaRPr dirty="0"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Presenters’ Names</a:t>
            </a:r>
            <a:endParaRPr dirty="0"/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37207636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52850" r="-52850"/>
          <a:stretch/>
        </p:blipFill>
        <p:spPr>
          <a:xfrm>
            <a:off x="579914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79914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390703"/>
            <a:ext cx="5280101" cy="5101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CRC has been a leader in the field of community college research and reform for over 20 years. Our work provides a foundation for innovations in policy and practice that help give every community college student the best chance of success.</a:t>
            </a:r>
          </a:p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ollege readiness and dual enrollment programs, and the transition from high school to college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Developmental education and adult basic skill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Non-academic support services, financial aid, and student engagement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Online education and instructional technology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Student persistence and completion, and transfer to four-year college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Guided pathways, institutional reform, and performance funding 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Workforce education and training and the economic returns to higher education</a:t>
            </a: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About CCRC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860484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5329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99742087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 hasCustomPrompt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485748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bulleted list</a:t>
            </a:r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062884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Image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21420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0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C7B9A75B-E217-DF49-BF55-6FDAE6951F7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25278" y="1850407"/>
            <a:ext cx="8366001" cy="4422155"/>
          </a:xfrm>
        </p:spPr>
        <p:txBody>
          <a:bodyPr/>
          <a:lstStyle>
            <a:lvl1pPr marL="35715" indent="0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02218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7903715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(null)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 hasCustomPrompt="1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sp>
        <p:nvSpPr>
          <p:cNvPr id="648" name="Shape 648"/>
          <p:cNvSpPr txBox="1">
            <a:spLocks noGrp="1"/>
          </p:cNvSpPr>
          <p:nvPr>
            <p:ph type="body" idx="1" hasCustomPrompt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Subtitle</a:t>
            </a:r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1" name="Shape 641">
            <a:extLst>
              <a:ext uri="{FF2B5EF4-FFF2-40B4-BE49-F238E27FC236}">
                <a16:creationId xmlns:a16="http://schemas.microsoft.com/office/drawing/2014/main" id="{88766948-B31C-AC46-BD49-7A210FA45BC8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12" name="Shape 642">
            <a:extLst>
              <a:ext uri="{FF2B5EF4-FFF2-40B4-BE49-F238E27FC236}">
                <a16:creationId xmlns:a16="http://schemas.microsoft.com/office/drawing/2014/main" id="{97781516-9DDB-B346-9BA4-A48471DD4D3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hape 643">
            <a:extLst>
              <a:ext uri="{FF2B5EF4-FFF2-40B4-BE49-F238E27FC236}">
                <a16:creationId xmlns:a16="http://schemas.microsoft.com/office/drawing/2014/main" id="{C6F3FDED-D9DD-B348-9384-C4630989A30F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81831025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with Photo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6C539D-87AC-C042-872B-C6450B6A7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2507" y="0"/>
            <a:ext cx="9338221" cy="4939234"/>
          </a:xfrm>
        </p:spPr>
        <p:txBody>
          <a:bodyPr/>
          <a:lstStyle>
            <a:lvl1pPr marL="35715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4401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05186323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4" name="Shape 654"/>
          <p:cNvSpPr txBox="1">
            <a:spLocks noGrp="1"/>
          </p:cNvSpPr>
          <p:nvPr>
            <p:ph type="body" idx="2" hasCustomPrompt="1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##</a:t>
            </a:r>
            <a:endParaRPr dirty="0"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7494477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8640028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1571921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hyperlink" Target="http://www.inquiry2improvement.com/" TargetMode="Externa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04268" y="6390406"/>
            <a:ext cx="19363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  <a:hlinkClick r:id="rId17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4663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258EB3"/>
            </a:gs>
            <a:gs pos="50000">
              <a:srgbClr val="258EB3">
                <a:gamma/>
                <a:tint val="39216"/>
                <a:invGamma/>
              </a:srgbClr>
            </a:gs>
            <a:gs pos="100000">
              <a:srgbClr val="258EB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033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7136" y="277526"/>
            <a:ext cx="9150334" cy="5987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0350" name="Group 14"/>
          <p:cNvGrpSpPr>
            <a:grpSpLocks/>
          </p:cNvGrpSpPr>
          <p:nvPr userDrawn="1"/>
        </p:nvGrpSpPr>
        <p:grpSpPr bwMode="auto">
          <a:xfrm>
            <a:off x="152400" y="6297613"/>
            <a:ext cx="457200" cy="458787"/>
            <a:chOff x="566" y="4031"/>
            <a:chExt cx="288" cy="289"/>
          </a:xfrm>
        </p:grpSpPr>
        <p:sp>
          <p:nvSpPr>
            <p:cNvPr id="270351" name="Oval 15"/>
            <p:cNvSpPr>
              <a:spLocks noChangeArrowheads="1"/>
            </p:cNvSpPr>
            <p:nvPr/>
          </p:nvSpPr>
          <p:spPr bwMode="auto">
            <a:xfrm>
              <a:off x="566" y="4032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38100">
              <a:solidFill>
                <a:srgbClr val="3333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0352" name="AutoShape 16"/>
            <p:cNvSpPr>
              <a:spLocks noChangeArrowheads="1"/>
            </p:cNvSpPr>
            <p:nvPr/>
          </p:nvSpPr>
          <p:spPr bwMode="auto">
            <a:xfrm>
              <a:off x="612" y="4090"/>
              <a:ext cx="182" cy="173"/>
            </a:xfrm>
            <a:prstGeom prst="leftArrow">
              <a:avLst>
                <a:gd name="adj1" fmla="val 54731"/>
                <a:gd name="adj2" fmla="val 47672"/>
              </a:avLst>
            </a:prstGeom>
            <a:solidFill>
              <a:srgbClr val="FFFF00">
                <a:alpha val="67000"/>
              </a:srgb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0353" name="Oval 17">
              <a:hlinkClick r:id="" action="ppaction://hlinkshowjump?jump=previousslide"/>
            </p:cNvPr>
            <p:cNvSpPr>
              <a:spLocks noChangeArrowheads="1"/>
            </p:cNvSpPr>
            <p:nvPr/>
          </p:nvSpPr>
          <p:spPr bwMode="auto">
            <a:xfrm>
              <a:off x="566" y="4031"/>
              <a:ext cx="288" cy="288"/>
            </a:xfrm>
            <a:prstGeom prst="ellipse">
              <a:avLst/>
            </a:prstGeom>
            <a:solidFill>
              <a:srgbClr val="FF0000">
                <a:alpha val="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70354" name="Group 18"/>
          <p:cNvGrpSpPr>
            <a:grpSpLocks/>
          </p:cNvGrpSpPr>
          <p:nvPr userDrawn="1"/>
        </p:nvGrpSpPr>
        <p:grpSpPr bwMode="auto">
          <a:xfrm>
            <a:off x="7620000" y="176213"/>
            <a:ext cx="1371600" cy="328612"/>
            <a:chOff x="4690" y="1023"/>
            <a:chExt cx="864" cy="207"/>
          </a:xfrm>
        </p:grpSpPr>
        <p:sp>
          <p:nvSpPr>
            <p:cNvPr id="270355" name="WordArt 19" descr="30%"/>
            <p:cNvSpPr>
              <a:spLocks noChangeArrowheads="1" noChangeShapeType="1" noTextEdit="1"/>
            </p:cNvSpPr>
            <p:nvPr/>
          </p:nvSpPr>
          <p:spPr bwMode="auto">
            <a:xfrm>
              <a:off x="4690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 dirty="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  <p:sp>
          <p:nvSpPr>
            <p:cNvPr id="270356" name="WordArt 20" descr="30%"/>
            <p:cNvSpPr>
              <a:spLocks noChangeArrowheads="1" noChangeShapeType="1" noTextEdit="1"/>
            </p:cNvSpPr>
            <p:nvPr/>
          </p:nvSpPr>
          <p:spPr bwMode="auto">
            <a:xfrm>
              <a:off x="4988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  <p:sp>
          <p:nvSpPr>
            <p:cNvPr id="270357" name="WordArt 21" descr="30%"/>
            <p:cNvSpPr>
              <a:spLocks noChangeArrowheads="1" noChangeShapeType="1" noTextEdit="1"/>
            </p:cNvSpPr>
            <p:nvPr/>
          </p:nvSpPr>
          <p:spPr bwMode="auto">
            <a:xfrm>
              <a:off x="5287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</p:grpSp>
      <p:sp>
        <p:nvSpPr>
          <p:cNvPr id="16" name="Rectangle 61"/>
          <p:cNvSpPr>
            <a:spLocks noChangeArrowheads="1"/>
          </p:cNvSpPr>
          <p:nvPr userDrawn="1"/>
        </p:nvSpPr>
        <p:spPr bwMode="auto">
          <a:xfrm>
            <a:off x="833438" y="1449402"/>
            <a:ext cx="7472362" cy="4113198"/>
          </a:xfrm>
          <a:prstGeom prst="rect">
            <a:avLst/>
          </a:prstGeom>
          <a:gradFill rotWithShape="0">
            <a:gsLst>
              <a:gs pos="0">
                <a:srgbClr val="FFFFFF">
                  <a:gamma/>
                  <a:shade val="46275"/>
                  <a:invGamma/>
                </a:srgbClr>
              </a:gs>
              <a:gs pos="50000">
                <a:srgbClr val="FFFFFF"/>
              </a:gs>
              <a:gs pos="100000">
                <a:srgbClr val="FFFFFF">
                  <a:gamma/>
                  <a:shade val="46275"/>
                  <a:invGamma/>
                </a:srgbClr>
              </a:gs>
            </a:gsLst>
            <a:lin ang="5400000" scaled="1"/>
          </a:gradFill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altLang="en-US" sz="6600" b="1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pic>
        <p:nvPicPr>
          <p:cNvPr id="17" name="Picture 6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05000" y="1702572"/>
            <a:ext cx="5338762" cy="3602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14"/>
          <p:cNvGrpSpPr>
            <a:grpSpLocks/>
          </p:cNvGrpSpPr>
          <p:nvPr userDrawn="1"/>
        </p:nvGrpSpPr>
        <p:grpSpPr bwMode="auto">
          <a:xfrm rot="10800000">
            <a:off x="688976" y="6297613"/>
            <a:ext cx="457200" cy="458787"/>
            <a:chOff x="566" y="4031"/>
            <a:chExt cx="288" cy="289"/>
          </a:xfrm>
        </p:grpSpPr>
        <p:sp>
          <p:nvSpPr>
            <p:cNvPr id="19" name="Oval 15"/>
            <p:cNvSpPr>
              <a:spLocks noChangeArrowheads="1"/>
            </p:cNvSpPr>
            <p:nvPr/>
          </p:nvSpPr>
          <p:spPr bwMode="auto">
            <a:xfrm>
              <a:off x="566" y="4032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38100">
              <a:solidFill>
                <a:srgbClr val="3333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" name="AutoShape 16"/>
            <p:cNvSpPr>
              <a:spLocks noChangeArrowheads="1"/>
            </p:cNvSpPr>
            <p:nvPr/>
          </p:nvSpPr>
          <p:spPr bwMode="auto">
            <a:xfrm>
              <a:off x="612" y="4090"/>
              <a:ext cx="182" cy="173"/>
            </a:xfrm>
            <a:prstGeom prst="leftArrow">
              <a:avLst>
                <a:gd name="adj1" fmla="val 54731"/>
                <a:gd name="adj2" fmla="val 47672"/>
              </a:avLst>
            </a:prstGeom>
            <a:solidFill>
              <a:srgbClr val="FFFF00">
                <a:alpha val="67000"/>
              </a:srgb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" name="Oval 17">
              <a:hlinkClick r:id="" action="ppaction://hlinkshowjump?jump=nextslide"/>
            </p:cNvPr>
            <p:cNvSpPr>
              <a:spLocks noChangeArrowheads="1"/>
            </p:cNvSpPr>
            <p:nvPr/>
          </p:nvSpPr>
          <p:spPr bwMode="auto">
            <a:xfrm>
              <a:off x="566" y="4031"/>
              <a:ext cx="288" cy="288"/>
            </a:xfrm>
            <a:prstGeom prst="ellipse">
              <a:avLst/>
            </a:prstGeom>
            <a:solidFill>
              <a:srgbClr val="FF0000">
                <a:alpha val="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77519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7" r:id="rId1"/>
    <p:sldLayoutId id="2147484808" r:id="rId2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963" y="762000"/>
            <a:ext cx="8229600" cy="1149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963" y="2008824"/>
            <a:ext cx="8229600" cy="4485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6715125" y="6372226"/>
            <a:ext cx="183828" cy="459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8328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34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54961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909956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64950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819931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169040" indent="-16904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565570" indent="-22118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737757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617">
          <a:solidFill>
            <a:srgbClr val="141313"/>
          </a:solidFill>
          <a:latin typeface="+mn-lt"/>
          <a:ea typeface="+mn-ea"/>
        </a:defRPr>
      </a:lvl3pPr>
      <a:lvl4pPr marL="909956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1617">
          <a:solidFill>
            <a:srgbClr val="141313"/>
          </a:solidFill>
          <a:latin typeface="+mn-lt"/>
          <a:ea typeface="+mn-ea"/>
        </a:defRPr>
      </a:lvl4pPr>
      <a:lvl5pPr marL="1082173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082173" algn="l"/>
        </a:tabLst>
        <a:defRPr sz="1406">
          <a:solidFill>
            <a:srgbClr val="141313"/>
          </a:solidFill>
          <a:latin typeface="+mn-lt"/>
          <a:ea typeface="+mn-ea"/>
        </a:defRPr>
      </a:lvl5pPr>
      <a:lvl6pPr marL="2443950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6pPr>
      <a:lvl7pPr marL="2898925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7pPr>
      <a:lvl8pPr marL="3353907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8pPr>
      <a:lvl9pPr marL="3808898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5496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09956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64950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1993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27493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29898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184879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39846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1004382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917" r:id="rId1"/>
    <p:sldLayoutId id="2147484918" r:id="rId2"/>
    <p:sldLayoutId id="2147484919" r:id="rId3"/>
    <p:sldLayoutId id="2147484920" r:id="rId4"/>
    <p:sldLayoutId id="2147484921" r:id="rId5"/>
    <p:sldLayoutId id="2147484922" r:id="rId6"/>
    <p:sldLayoutId id="2147484923" r:id="rId7"/>
    <p:sldLayoutId id="2147484924" r:id="rId8"/>
    <p:sldLayoutId id="2147484925" r:id="rId9"/>
    <p:sldLayoutId id="2147484926" r:id="rId10"/>
    <p:sldLayoutId id="2147484927" r:id="rId11"/>
    <p:sldLayoutId id="2147484928" r:id="rId12"/>
    <p:sldLayoutId id="2147484929" r:id="rId13"/>
    <p:sldLayoutId id="2147484930" r:id="rId14"/>
    <p:sldLayoutId id="2147484931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4848243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022" r:id="rId1"/>
    <p:sldLayoutId id="2147485023" r:id="rId2"/>
    <p:sldLayoutId id="2147485024" r:id="rId3"/>
    <p:sldLayoutId id="2147485025" r:id="rId4"/>
    <p:sldLayoutId id="2147485026" r:id="rId5"/>
    <p:sldLayoutId id="2147485027" r:id="rId6"/>
    <p:sldLayoutId id="2147485028" r:id="rId7"/>
    <p:sldLayoutId id="2147485029" r:id="rId8"/>
    <p:sldLayoutId id="2147485030" r:id="rId9"/>
    <p:sldLayoutId id="2147485031" r:id="rId10"/>
    <p:sldLayoutId id="2147485032" r:id="rId11"/>
    <p:sldLayoutId id="2147485033" r:id="rId12"/>
    <p:sldLayoutId id="2147485034" r:id="rId13"/>
    <p:sldLayoutId id="2147485035" r:id="rId14"/>
    <p:sldLayoutId id="2147485036" r:id="rId15"/>
    <p:sldLayoutId id="2147485037" r:id="rId16"/>
    <p:sldLayoutId id="2147485038" r:id="rId17"/>
    <p:sldLayoutId id="2147485039" r:id="rId1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477233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041" r:id="rId1"/>
    <p:sldLayoutId id="2147485042" r:id="rId2"/>
    <p:sldLayoutId id="2147485043" r:id="rId3"/>
    <p:sldLayoutId id="2147485044" r:id="rId4"/>
    <p:sldLayoutId id="2147485045" r:id="rId5"/>
    <p:sldLayoutId id="2147485046" r:id="rId6"/>
    <p:sldLayoutId id="2147485047" r:id="rId7"/>
    <p:sldLayoutId id="2147485048" r:id="rId8"/>
    <p:sldLayoutId id="2147485049" r:id="rId9"/>
    <p:sldLayoutId id="2147485050" r:id="rId10"/>
    <p:sldLayoutId id="2147485051" r:id="rId11"/>
    <p:sldLayoutId id="2147485052" r:id="rId12"/>
    <p:sldLayoutId id="2147485053" r:id="rId13"/>
    <p:sldLayoutId id="2147485054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n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04268" y="6390406"/>
            <a:ext cx="19363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1705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57" r:id="rId1"/>
    <p:sldLayoutId id="2147485058" r:id="rId2"/>
    <p:sldLayoutId id="2147485059" r:id="rId3"/>
    <p:sldLayoutId id="2147485060" r:id="rId4"/>
    <p:sldLayoutId id="2147485061" r:id="rId5"/>
    <p:sldLayoutId id="2147485062" r:id="rId6"/>
    <p:sldLayoutId id="2147485063" r:id="rId7"/>
    <p:sldLayoutId id="2147485064" r:id="rId8"/>
    <p:sldLayoutId id="2147485065" r:id="rId9"/>
    <p:sldLayoutId id="2147485066" r:id="rId10"/>
    <p:sldLayoutId id="2147485067" r:id="rId11"/>
    <p:sldLayoutId id="2147485068" r:id="rId12"/>
    <p:sldLayoutId id="2147485069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960539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123" r:id="rId1"/>
    <p:sldLayoutId id="2147485124" r:id="rId2"/>
    <p:sldLayoutId id="2147485125" r:id="rId3"/>
    <p:sldLayoutId id="2147485126" r:id="rId4"/>
    <p:sldLayoutId id="2147485127" r:id="rId5"/>
    <p:sldLayoutId id="2147485128" r:id="rId6"/>
    <p:sldLayoutId id="2147485129" r:id="rId7"/>
    <p:sldLayoutId id="2147485130" r:id="rId8"/>
    <p:sldLayoutId id="2147485131" r:id="rId9"/>
    <p:sldLayoutId id="2147485132" r:id="rId10"/>
    <p:sldLayoutId id="2147485133" r:id="rId11"/>
    <p:sldLayoutId id="2147485134" r:id="rId12"/>
    <p:sldLayoutId id="2147485135" r:id="rId13"/>
    <p:sldLayoutId id="2147485136" r:id="rId14"/>
    <p:sldLayoutId id="2147485137" r:id="rId15"/>
    <p:sldLayoutId id="2147485138" r:id="rId1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n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ncii-improve.com/" TargetMode="External"/><Relationship Id="rId1" Type="http://schemas.openxmlformats.org/officeDocument/2006/relationships/slideLayout" Target="../slideLayouts/slideLayout7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55171" y="773963"/>
            <a:ext cx="7982901" cy="3977347"/>
          </a:xfrm>
        </p:spPr>
        <p:txBody>
          <a:bodyPr anchor="ctr">
            <a:normAutofit fontScale="90000"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4400" b="1" dirty="0"/>
              <a:t> </a:t>
            </a:r>
            <a:r>
              <a:rPr lang="en-US" sz="4900" b="1" dirty="0"/>
              <a:t>Supporting Students from Application to the First Day of Classes</a:t>
            </a:r>
            <a:br>
              <a:rPr lang="en-US" sz="4900" b="1" dirty="0"/>
            </a:br>
            <a:r>
              <a:rPr lang="en-US" sz="4900" b="1" dirty="0"/>
              <a:t>  </a:t>
            </a:r>
            <a:r>
              <a:rPr lang="en-US" sz="3100" b="1" i="1" dirty="0">
                <a:solidFill>
                  <a:srgbClr val="549E39">
                    <a:lumMod val="50000"/>
                  </a:srgbClr>
                </a:solidFill>
              </a:rPr>
              <a:t>Advancing Equity through Guided Pathways Series</a:t>
            </a:r>
            <a:br>
              <a:rPr lang="en-US" sz="31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3100" b="1" i="1" dirty="0">
                <a:solidFill>
                  <a:srgbClr val="549E39">
                    <a:lumMod val="50000"/>
                  </a:srgbClr>
                </a:solidFill>
              </a:rPr>
              <a:t>Discussion Guide </a:t>
            </a:r>
            <a:r>
              <a:rPr lang="en-US" sz="3100" b="1" i="1">
                <a:solidFill>
                  <a:srgbClr val="549E39">
                    <a:lumMod val="50000"/>
                  </a:srgbClr>
                </a:solidFill>
              </a:rPr>
              <a:t>#5 </a:t>
            </a:r>
            <a:br>
              <a:rPr lang="en-US" sz="3100" b="1" i="1" dirty="0">
                <a:solidFill>
                  <a:srgbClr val="549E39">
                    <a:lumMod val="50000"/>
                  </a:srgbClr>
                </a:solidFill>
              </a:rPr>
            </a:br>
            <a:br>
              <a:rPr lang="en-US" sz="31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3100" b="1" i="1" dirty="0">
                <a:solidFill>
                  <a:srgbClr val="549E39">
                    <a:lumMod val="50000"/>
                  </a:srgbClr>
                </a:solidFill>
              </a:rPr>
              <a:t>Julianna Barnes, Cuyamaca College &amp;</a:t>
            </a:r>
            <a:br>
              <a:rPr lang="en-US" sz="31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3100" b="1" i="1" dirty="0">
                <a:solidFill>
                  <a:srgbClr val="549E39">
                    <a:lumMod val="50000"/>
                  </a:srgbClr>
                </a:solidFill>
              </a:rPr>
              <a:t>Rob Johnstone, NCII</a:t>
            </a:r>
            <a:br>
              <a:rPr lang="en-US" sz="4000" dirty="0"/>
            </a:b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8C28C9-49BD-154E-81F1-36BC551BC087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3197A526-1CBD-4B41-B3B4-686116C89D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6101" y="5425510"/>
            <a:ext cx="3286125" cy="109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340765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9FC065-4E0A-CC4D-B2A3-53DA6780C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Research Tasks (1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A78684-835C-5C44-946B-7F76B373D4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260389"/>
            <a:ext cx="7680960" cy="4616843"/>
          </a:xfrm>
        </p:spPr>
        <p:txBody>
          <a:bodyPr>
            <a:normAutofit fontScale="92500" lnSpcReduction="2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i="1" dirty="0"/>
              <a:t>Determine how your college will…</a:t>
            </a:r>
          </a:p>
          <a:p>
            <a:pPr lvl="0">
              <a:spcBef>
                <a:spcPts val="1500"/>
              </a:spcBef>
            </a:pPr>
            <a:r>
              <a:rPr lang="en-US" dirty="0"/>
              <a:t>Map the current student intake process, identifying all steps a student might need to take to get from application to the first day of classes</a:t>
            </a:r>
          </a:p>
          <a:p>
            <a:pPr lvl="0">
              <a:spcBef>
                <a:spcPts val="1500"/>
              </a:spcBef>
            </a:pPr>
            <a:r>
              <a:rPr lang="en-US" dirty="0"/>
              <a:t>Determine at what points along the intake process your college loses students* </a:t>
            </a:r>
          </a:p>
          <a:p>
            <a:pPr lvl="0">
              <a:spcBef>
                <a:spcPts val="1500"/>
              </a:spcBef>
            </a:pPr>
            <a:r>
              <a:rPr lang="en-US" dirty="0"/>
              <a:t>Identify the percentage of students who begin the intake process but do not enroll (e.g. applied but did not enroll, started/completed the financial aid process but did not enroll)*</a:t>
            </a:r>
          </a:p>
          <a:p>
            <a:pPr marL="0" lvl="0" indent="0">
              <a:spcBef>
                <a:spcPts val="1500"/>
              </a:spcBef>
              <a:buNone/>
            </a:pPr>
            <a:r>
              <a:rPr lang="en-US" sz="1700" i="1" dirty="0"/>
              <a:t>*Disaggregate for different student group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80BA71-DD0E-5147-9B04-48E296CBCF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0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1632219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9FC065-4E0A-CC4D-B2A3-53DA6780C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Research Tasks (2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A78684-835C-5C44-946B-7F76B373D4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260389"/>
            <a:ext cx="7680960" cy="4616843"/>
          </a:xfrm>
        </p:spPr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i="1" dirty="0"/>
              <a:t>Determine how your college will…</a:t>
            </a:r>
          </a:p>
          <a:p>
            <a:pPr lvl="0">
              <a:spcBef>
                <a:spcPts val="1500"/>
              </a:spcBef>
            </a:pPr>
            <a:r>
              <a:rPr lang="en-US" dirty="0"/>
              <a:t>Gather student perceptions about the intake process, focusing on implications for improvement*</a:t>
            </a:r>
          </a:p>
          <a:p>
            <a:pPr lvl="0">
              <a:spcBef>
                <a:spcPts val="1500"/>
              </a:spcBef>
            </a:pPr>
            <a:r>
              <a:rPr lang="en-US" dirty="0"/>
              <a:t>Examine what percentage of students who make it to enrollment are directed to remedial education, enter a program of study that leads to earning a living wage*</a:t>
            </a:r>
          </a:p>
          <a:p>
            <a:pPr marL="0" lvl="0" indent="0">
              <a:spcBef>
                <a:spcPts val="1500"/>
              </a:spcBef>
              <a:buNone/>
            </a:pPr>
            <a:r>
              <a:rPr lang="en-US" sz="1700" i="1" dirty="0"/>
              <a:t>*Disaggregate for different student group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80BA71-DD0E-5147-9B04-48E296CBCF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1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22409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4D14F9-5D02-2B49-AD78-450DC3530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For More Information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752E70-FE32-5843-BE9F-04EE06E357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spcBef>
                <a:spcPts val="0"/>
              </a:spcBef>
              <a:spcAft>
                <a:spcPts val="1500"/>
              </a:spcAft>
              <a:buNone/>
            </a:pPr>
            <a:r>
              <a:rPr lang="en-US" dirty="0"/>
              <a:t>For related content, discussion questions, &amp; research tasks, review…</a:t>
            </a:r>
          </a:p>
          <a:p>
            <a:pPr lvl="1">
              <a:spcBef>
                <a:spcPts val="0"/>
              </a:spcBef>
              <a:spcAft>
                <a:spcPts val="1500"/>
              </a:spcAft>
            </a:pPr>
            <a:r>
              <a:rPr lang="en-US" i="1" dirty="0"/>
              <a:t>Creating Student Connection &amp; Belonging upon Entry</a:t>
            </a:r>
            <a:r>
              <a:rPr lang="en-US" dirty="0"/>
              <a:t> (Guide 6)</a:t>
            </a:r>
          </a:p>
          <a:p>
            <a:pPr lvl="1">
              <a:spcBef>
                <a:spcPts val="0"/>
              </a:spcBef>
              <a:spcAft>
                <a:spcPts val="1500"/>
              </a:spcAft>
            </a:pPr>
            <a:r>
              <a:rPr lang="en-US" i="1" dirty="0"/>
              <a:t>Taking an Asset-Based Approach to Student Onboarding</a:t>
            </a:r>
            <a:r>
              <a:rPr lang="en-US" dirty="0"/>
              <a:t> (Guide 7)</a:t>
            </a:r>
          </a:p>
          <a:p>
            <a:pPr marL="0" indent="0">
              <a:spcBef>
                <a:spcPts val="0"/>
              </a:spcBef>
              <a:spcAft>
                <a:spcPts val="1500"/>
              </a:spcAft>
              <a:buNone/>
            </a:pPr>
            <a:r>
              <a:rPr lang="en-US" dirty="0"/>
              <a:t>For all guides &amp; additional information on the series, visit </a:t>
            </a:r>
            <a:r>
              <a:rPr lang="en-US" u="sng" dirty="0">
                <a:hlinkClick r:id="rId2"/>
              </a:rPr>
              <a:t>www.ncii-improve.com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07F085-538B-D845-84CB-86A5D39047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2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936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FA827F-0835-F743-91A9-F367EFCE3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How to Use This Presen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70F228-B789-B249-BADA-2E1CF879D6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689463"/>
            <a:ext cx="7680960" cy="4187769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dirty="0"/>
              <a:t>As an institutional redesign team…</a:t>
            </a:r>
          </a:p>
          <a:p>
            <a:pPr>
              <a:spcBef>
                <a:spcPts val="1500"/>
              </a:spcBef>
            </a:pPr>
            <a:r>
              <a:rPr lang="en-US" dirty="0"/>
              <a:t>Independently read </a:t>
            </a:r>
            <a:r>
              <a:rPr lang="en-US" i="1" dirty="0"/>
              <a:t>Advancing Equity through Guided Pathways Discussion Guide 5</a:t>
            </a:r>
          </a:p>
          <a:p>
            <a:pPr>
              <a:spcBef>
                <a:spcPts val="1500"/>
              </a:spcBef>
            </a:pPr>
            <a:r>
              <a:rPr lang="en-US" dirty="0"/>
              <a:t>Review the highlights (below) on </a:t>
            </a:r>
            <a:r>
              <a:rPr lang="en-US" u="sng" dirty="0"/>
              <a:t>equity issues impacting student connection to the college throughout the intake process</a:t>
            </a:r>
            <a:r>
              <a:rPr lang="en-US" dirty="0"/>
              <a:t> </a:t>
            </a:r>
          </a:p>
          <a:p>
            <a:pPr>
              <a:spcBef>
                <a:spcPts val="1500"/>
              </a:spcBef>
            </a:pPr>
            <a:r>
              <a:rPr lang="en-US" dirty="0"/>
              <a:t>Consider the discussion questions</a:t>
            </a:r>
          </a:p>
          <a:p>
            <a:pPr>
              <a:spcBef>
                <a:spcPts val="1500"/>
              </a:spcBef>
            </a:pPr>
            <a:r>
              <a:rPr lang="en-US" dirty="0"/>
              <a:t>Determine how to conduct the research task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D801F-C619-A947-9BD7-38FA50CE0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2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151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94343"/>
            <a:ext cx="7680960" cy="901337"/>
          </a:xfrm>
        </p:spPr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Backgrou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8320" y="1219200"/>
            <a:ext cx="8219440" cy="4998719"/>
          </a:xfrm>
        </p:spPr>
        <p:txBody>
          <a:bodyPr>
            <a:normAutofit/>
          </a:bodyPr>
          <a:lstStyle/>
          <a:p>
            <a:pPr>
              <a:spcBef>
                <a:spcPts val="1500"/>
              </a:spcBef>
            </a:pPr>
            <a:r>
              <a:rPr lang="en-US" dirty="0"/>
              <a:t>Prepared as companion to the </a:t>
            </a:r>
            <a:r>
              <a:rPr lang="en-US" i="1" dirty="0"/>
              <a:t>Advancing Equity in Guided Pathways Discussion Guide 5</a:t>
            </a:r>
            <a:r>
              <a:rPr lang="en-US" dirty="0"/>
              <a:t>, authored by Julia Barnes, Cuyamaca College &amp; Rob Johnstone, NCII</a:t>
            </a:r>
          </a:p>
          <a:p>
            <a:pPr>
              <a:spcBef>
                <a:spcPts val="1500"/>
              </a:spcBef>
            </a:pPr>
            <a:r>
              <a:rPr lang="en-US" dirty="0"/>
              <a:t>Intended to foster critical campus conversations about increasing student equity under a Guided Pathways umbrella </a:t>
            </a:r>
          </a:p>
          <a:p>
            <a:pPr lvl="1">
              <a:spcBef>
                <a:spcPts val="700"/>
              </a:spcBef>
            </a:pPr>
            <a:r>
              <a:rPr lang="en-US" dirty="0"/>
              <a:t>Across the series, authors bring their own unique perspectives on &amp; approach to the issue; no guide is intended as the definitive word on its topic</a:t>
            </a:r>
          </a:p>
          <a:p>
            <a:pPr marL="457200" indent="-457200">
              <a:buFont typeface="Arial" pitchFamily="34" charset="0"/>
              <a:buChar char="•"/>
            </a:pPr>
            <a:endParaRPr lang="en-US" sz="3200" dirty="0"/>
          </a:p>
          <a:p>
            <a:pPr marL="457200" indent="-457200">
              <a:buFont typeface="Arial" pitchFamily="34" charset="0"/>
              <a:buChar char="•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078822957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15223-983C-4E48-898F-55C67D4F7C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What Do We Mean by Intak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C4DC10-D92C-BD4B-BFC3-40BCD56229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1500"/>
              </a:spcBef>
            </a:pPr>
            <a:r>
              <a:rPr lang="en-US" dirty="0"/>
              <a:t>Happens </a:t>
            </a:r>
            <a:r>
              <a:rPr lang="en-US" i="1" dirty="0"/>
              <a:t>before</a:t>
            </a:r>
            <a:r>
              <a:rPr lang="en-US" dirty="0"/>
              <a:t> students enter the classroom</a:t>
            </a:r>
          </a:p>
          <a:p>
            <a:pPr>
              <a:spcBef>
                <a:spcPts val="1500"/>
              </a:spcBef>
            </a:pPr>
            <a:r>
              <a:rPr lang="en-US" dirty="0"/>
              <a:t>Includes application, placement testing, orientation, financial aid, advising, &amp; registration </a:t>
            </a:r>
          </a:p>
          <a:p>
            <a:pPr>
              <a:spcBef>
                <a:spcPts val="1500"/>
              </a:spcBef>
            </a:pPr>
            <a:r>
              <a:rPr lang="en-US" dirty="0"/>
              <a:t>Also referred to as “onboarding” or “matriculation”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C19561-58DA-DB49-9B81-77E354870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4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5084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446B13-2E95-464E-BF8F-7A7ACDF2D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Why Is Successful Student Intake Important to Equity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7D5D02-5875-B44C-9B4C-348BDA45A9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1500"/>
              </a:spcBef>
            </a:pPr>
            <a:r>
              <a:rPr lang="en-US" dirty="0"/>
              <a:t>Equity data shows students of color, first generation, &amp; low-income students often never make it through intake to enrollment</a:t>
            </a:r>
          </a:p>
          <a:p>
            <a:pPr>
              <a:spcBef>
                <a:spcPts val="1500"/>
              </a:spcBef>
            </a:pPr>
            <a:r>
              <a:rPr lang="en-US" dirty="0"/>
              <a:t>Community college students’ racial, cultural, linguistic, &amp; socioeconomic diversity means there can be no one intake experience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3CDFBB-DE10-E547-8C00-005E48DB3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7004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What Are Some Issues Impacting Equity in Student Intake? (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spcBef>
                <a:spcPts val="1500"/>
              </a:spcBef>
            </a:pPr>
            <a:r>
              <a:rPr lang="en-US" dirty="0"/>
              <a:t>Complexity of steps, multiplicity of processes</a:t>
            </a:r>
          </a:p>
          <a:p>
            <a:pPr>
              <a:spcBef>
                <a:spcPts val="1500"/>
              </a:spcBef>
            </a:pPr>
            <a:r>
              <a:rPr lang="en-US" dirty="0"/>
              <a:t>Language barriers for non-native English speakers, college jargon, confusing instructions</a:t>
            </a:r>
          </a:p>
          <a:p>
            <a:pPr>
              <a:spcBef>
                <a:spcPts val="1500"/>
              </a:spcBef>
            </a:pPr>
            <a:r>
              <a:rPr lang="en-US" dirty="0"/>
              <a:t>Insufficient funds to cover costs beyond tuition, delays in financial aid disbursement, absence of information about financial assistance</a:t>
            </a:r>
          </a:p>
          <a:p>
            <a:pPr>
              <a:spcBef>
                <a:spcPts val="1500"/>
              </a:spcBef>
            </a:pPr>
            <a:r>
              <a:rPr lang="en-US" dirty="0"/>
              <a:t>Lack of awareness about / use of services &amp; supports to facilitate successful intak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6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2584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What Are Some Issues Impacting Equity in Student Intake? (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1500"/>
              </a:spcBef>
            </a:pPr>
            <a:r>
              <a:rPr lang="en-US" dirty="0"/>
              <a:t>Reliance on opaque college websites, dense course catalogs for information </a:t>
            </a:r>
          </a:p>
          <a:p>
            <a:pPr>
              <a:spcBef>
                <a:spcPts val="1500"/>
              </a:spcBef>
            </a:pPr>
            <a:r>
              <a:rPr lang="en-US" dirty="0"/>
              <a:t>Uninformed decision-making about high-stakes testing, course selection resulting in placement in remedial education, choice of programs leading low-wage care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7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2391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2896D-3920-EA43-A026-51741A7F2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Discussion Questions (1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DEF541-B067-E349-824C-CA14982555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235677"/>
            <a:ext cx="7680960" cy="4641556"/>
          </a:xfrm>
        </p:spPr>
        <p:txBody>
          <a:bodyPr>
            <a:normAutofit/>
          </a:bodyPr>
          <a:lstStyle/>
          <a:p>
            <a:pPr marL="0" lvl="0" indent="0">
              <a:spcBef>
                <a:spcPts val="1500"/>
              </a:spcBef>
              <a:buNone/>
            </a:pPr>
            <a:r>
              <a:rPr lang="en-US" i="1" dirty="0"/>
              <a:t>Consider what your college…</a:t>
            </a:r>
          </a:p>
          <a:p>
            <a:pPr lvl="0">
              <a:spcBef>
                <a:spcPts val="1500"/>
              </a:spcBef>
            </a:pPr>
            <a:r>
              <a:rPr lang="en-US" u="sng" dirty="0"/>
              <a:t>Knows about the current intake process</a:t>
            </a:r>
            <a:r>
              <a:rPr lang="en-US" dirty="0"/>
              <a:t> for different student groups, including how this current process fosters or impedes early connection to the campus</a:t>
            </a:r>
          </a:p>
          <a:p>
            <a:pPr lvl="0">
              <a:spcBef>
                <a:spcPts val="1500"/>
              </a:spcBef>
            </a:pPr>
            <a:r>
              <a:rPr lang="en-US" u="sng" dirty="0"/>
              <a:t>Could tangibly change to make its intake process clearer</a:t>
            </a:r>
            <a:r>
              <a:rPr lang="en-US" dirty="0"/>
              <a:t> for students of color &amp; those who have been historically underrepresented &amp;/or underserved in higher edu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78975-91E7-1B4E-8D32-18C67AC4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8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238593"/>
      </p:ext>
    </p:extLst>
  </p:cSld>
  <p:clrMapOvr>
    <a:masterClrMapping/>
  </p:clrMapOvr>
  <p:transition>
    <p:dissolv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2896D-3920-EA43-A026-51741A7F2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Discussion Questions (2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DEF541-B067-E349-824C-CA14982555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235677"/>
            <a:ext cx="7680960" cy="4641556"/>
          </a:xfrm>
        </p:spPr>
        <p:txBody>
          <a:bodyPr>
            <a:normAutofit lnSpcReduction="10000"/>
          </a:bodyPr>
          <a:lstStyle/>
          <a:p>
            <a:pPr marL="0" lvl="0" indent="0">
              <a:spcBef>
                <a:spcPts val="1500"/>
              </a:spcBef>
              <a:buNone/>
            </a:pPr>
            <a:r>
              <a:rPr lang="en-US" i="1" dirty="0"/>
              <a:t>Consider what your college…</a:t>
            </a:r>
          </a:p>
          <a:p>
            <a:pPr lvl="0">
              <a:spcBef>
                <a:spcPts val="1500"/>
              </a:spcBef>
            </a:pPr>
            <a:r>
              <a:rPr lang="en-US" u="sng" dirty="0"/>
              <a:t>Could do to ensure that disproportionately impacted students access support services</a:t>
            </a:r>
            <a:r>
              <a:rPr lang="en-US" dirty="0"/>
              <a:t> that facilitate enrollment into programs of study leading to earning a living wage (e.g. financial aid, orientation, counseling/advisement)</a:t>
            </a:r>
          </a:p>
          <a:p>
            <a:pPr lvl="0">
              <a:spcBef>
                <a:spcPts val="1500"/>
              </a:spcBef>
            </a:pPr>
            <a:r>
              <a:rPr lang="en-US" u="sng" dirty="0"/>
              <a:t>Could do to employ hiring and professional development practices</a:t>
            </a:r>
            <a:r>
              <a:rPr lang="en-US" dirty="0"/>
              <a:t> that improve the intake processes for disproportionately impacted stud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78975-91E7-1B4E-8D32-18C67AC4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9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373105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2.xml><?xml version="1.0" encoding="utf-8"?>
<a:theme xmlns:a="http://schemas.openxmlformats.org/drawingml/2006/main" name="Family Feud Master">
  <a:themeElements>
    <a:clrScheme name="Family Feud Bible Edition v1.5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Family Feud Bible Edition v1.5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lnDef>
  </a:objectDefaults>
  <a:extraClrSchemeLst>
    <a:extraClrScheme>
      <a:clrScheme name="Family Feud Bible Edition v1.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1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CCRC2017">
  <a:themeElements>
    <a:clrScheme name="CCRC 2017">
      <a:dk1>
        <a:srgbClr val="000000"/>
      </a:dk1>
      <a:lt1>
        <a:srgbClr val="FFFFFF"/>
      </a:lt1>
      <a:dk2>
        <a:srgbClr val="0065A3"/>
      </a:dk2>
      <a:lt2>
        <a:srgbClr val="30A2B6"/>
      </a:lt2>
      <a:accent1>
        <a:srgbClr val="0065A3"/>
      </a:accent1>
      <a:accent2>
        <a:srgbClr val="30A2B6"/>
      </a:accent2>
      <a:accent3>
        <a:srgbClr val="CB3A2E"/>
      </a:accent3>
      <a:accent4>
        <a:srgbClr val="D96B28"/>
      </a:accent4>
      <a:accent5>
        <a:srgbClr val="864F83"/>
      </a:accent5>
      <a:accent6>
        <a:srgbClr val="5CA060"/>
      </a:accent6>
      <a:hlink>
        <a:srgbClr val="0065A3"/>
      </a:hlink>
      <a:folHlink>
        <a:srgbClr val="30A2B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CCRC2017">
  <a:themeElements>
    <a:clrScheme name="CCRC 2017">
      <a:dk1>
        <a:srgbClr val="000000"/>
      </a:dk1>
      <a:lt1>
        <a:srgbClr val="FFFFFF"/>
      </a:lt1>
      <a:dk2>
        <a:srgbClr val="0065A3"/>
      </a:dk2>
      <a:lt2>
        <a:srgbClr val="30A2B6"/>
      </a:lt2>
      <a:accent1>
        <a:srgbClr val="0065A3"/>
      </a:accent1>
      <a:accent2>
        <a:srgbClr val="30A2B6"/>
      </a:accent2>
      <a:accent3>
        <a:srgbClr val="CB3A2E"/>
      </a:accent3>
      <a:accent4>
        <a:srgbClr val="D96B28"/>
      </a:accent4>
      <a:accent5>
        <a:srgbClr val="864F83"/>
      </a:accent5>
      <a:accent6>
        <a:srgbClr val="5CA060"/>
      </a:accent6>
      <a:hlink>
        <a:srgbClr val="0065A3"/>
      </a:hlink>
      <a:folHlink>
        <a:srgbClr val="30A2B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CCRC 2018 Theme">
  <a:themeElements>
    <a:clrScheme name="CCRC Colors">
      <a:dk1>
        <a:srgbClr val="000000"/>
      </a:dk1>
      <a:lt1>
        <a:srgbClr val="FFFFFF"/>
      </a:lt1>
      <a:dk2>
        <a:srgbClr val="0065A4"/>
      </a:dk2>
      <a:lt2>
        <a:srgbClr val="31A2B6"/>
      </a:lt2>
      <a:accent1>
        <a:srgbClr val="0065A4"/>
      </a:accent1>
      <a:accent2>
        <a:srgbClr val="31A2B6"/>
      </a:accent2>
      <a:accent3>
        <a:srgbClr val="CB3B2E"/>
      </a:accent3>
      <a:accent4>
        <a:srgbClr val="D96B29"/>
      </a:accent4>
      <a:accent5>
        <a:srgbClr val="864F83"/>
      </a:accent5>
      <a:accent6>
        <a:srgbClr val="5CA060"/>
      </a:accent6>
      <a:hlink>
        <a:srgbClr val="0065A4"/>
      </a:hlink>
      <a:folHlink>
        <a:srgbClr val="31A2B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91425" rIns="91425" bIns="91425" anchor="t" anchorCtr="0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2D0CD61F-64F4-8042-8B52-057EC0C08E7D}" vid="{CE445F00-00A9-B14A-A85E-C5DFAB001E1E}"/>
    </a:ext>
  </a:extLst>
</a:theme>
</file>

<file path=ppt/theme/theme7.xml><?xml version="1.0" encoding="utf-8"?>
<a:theme xmlns:a="http://schemas.openxmlformats.org/drawingml/2006/main" name="3_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8.xml><?xml version="1.0" encoding="utf-8"?>
<a:theme xmlns:a="http://schemas.openxmlformats.org/drawingml/2006/main" name="CCRC 2018 Theme">
  <a:themeElements>
    <a:clrScheme name="CCRC Colors">
      <a:dk1>
        <a:srgbClr val="000000"/>
      </a:dk1>
      <a:lt1>
        <a:srgbClr val="FFFFFF"/>
      </a:lt1>
      <a:dk2>
        <a:srgbClr val="0065A4"/>
      </a:dk2>
      <a:lt2>
        <a:srgbClr val="31A2B6"/>
      </a:lt2>
      <a:accent1>
        <a:srgbClr val="0065A4"/>
      </a:accent1>
      <a:accent2>
        <a:srgbClr val="31A2B6"/>
      </a:accent2>
      <a:accent3>
        <a:srgbClr val="CB3B2E"/>
      </a:accent3>
      <a:accent4>
        <a:srgbClr val="D96B29"/>
      </a:accent4>
      <a:accent5>
        <a:srgbClr val="864F83"/>
      </a:accent5>
      <a:accent6>
        <a:srgbClr val="5CA060"/>
      </a:accent6>
      <a:hlink>
        <a:srgbClr val="0065A4"/>
      </a:hlink>
      <a:folHlink>
        <a:srgbClr val="31A2B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91425" rIns="91425" bIns="91425" anchor="t" anchorCtr="0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CRC PowerPoint Template 2018.potx" id="{9B62C386-C4C1-224D-BD9F-7B871BB1274C}" vid="{EEFA916E-7339-4C4A-B1FC-FDCAD3B656DC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6965</TotalTime>
  <Words>710</Words>
  <Application>Microsoft Office PowerPoint</Application>
  <PresentationFormat>On-screen Show (4:3)</PresentationFormat>
  <Paragraphs>62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30" baseType="lpstr">
      <vt:lpstr>Arial</vt:lpstr>
      <vt:lpstr>Arial (null)</vt:lpstr>
      <vt:lpstr>Arial Black</vt:lpstr>
      <vt:lpstr>Calibri</vt:lpstr>
      <vt:lpstr>Century Gothic</vt:lpstr>
      <vt:lpstr>Helvetica</vt:lpstr>
      <vt:lpstr>Tahoma</vt:lpstr>
      <vt:lpstr>Wingdings</vt:lpstr>
      <vt:lpstr>Savon</vt:lpstr>
      <vt:lpstr>Family Feud Master</vt:lpstr>
      <vt:lpstr>41_AmericasCharities_PPT_TEMPLATE_160511</vt:lpstr>
      <vt:lpstr>CCRC2017</vt:lpstr>
      <vt:lpstr>3_CCRC2017</vt:lpstr>
      <vt:lpstr>3_CCRC 2018 Theme</vt:lpstr>
      <vt:lpstr>3_Savon</vt:lpstr>
      <vt:lpstr>CCRC 2018 Theme</vt:lpstr>
      <vt:lpstr>Image</vt:lpstr>
      <vt:lpstr>think-cell Slide</vt:lpstr>
      <vt:lpstr> Supporting Students from Application to the First Day of Classes   Advancing Equity through Guided Pathways Series Discussion Guide #5   Julianna Barnes, Cuyamaca College &amp; Rob Johnstone, NCII </vt:lpstr>
      <vt:lpstr>How to Use This Presentation</vt:lpstr>
      <vt:lpstr>Background</vt:lpstr>
      <vt:lpstr>What Do We Mean by Intake?</vt:lpstr>
      <vt:lpstr>Why Is Successful Student Intake Important to Equity?</vt:lpstr>
      <vt:lpstr>What Are Some Issues Impacting Equity in Student Intake? (1)</vt:lpstr>
      <vt:lpstr>What Are Some Issues Impacting Equity in Student Intake? (2)</vt:lpstr>
      <vt:lpstr>Discussion Questions (1) </vt:lpstr>
      <vt:lpstr>Discussion Questions (2) </vt:lpstr>
      <vt:lpstr>Research Tasks (1) </vt:lpstr>
      <vt:lpstr>Research Tasks (2) </vt:lpstr>
      <vt:lpstr>For More Information…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ith</dc:creator>
  <cp:lastModifiedBy>Robert Johnstone</cp:lastModifiedBy>
  <cp:revision>665</cp:revision>
  <cp:lastPrinted>2014-07-14T16:09:47Z</cp:lastPrinted>
  <dcterms:created xsi:type="dcterms:W3CDTF">2013-06-11T18:27:20Z</dcterms:created>
  <dcterms:modified xsi:type="dcterms:W3CDTF">2020-06-23T01:27:41Z</dcterms:modified>
</cp:coreProperties>
</file>